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6"/>
  </p:notesMasterIdLst>
  <p:sldIdLst>
    <p:sldId id="558" r:id="rId2"/>
    <p:sldId id="259" r:id="rId3"/>
    <p:sldId id="267" r:id="rId4"/>
    <p:sldId id="1635" r:id="rId5"/>
    <p:sldId id="1637" r:id="rId6"/>
    <p:sldId id="1191" r:id="rId7"/>
    <p:sldId id="1069" r:id="rId8"/>
    <p:sldId id="1042" r:id="rId9"/>
    <p:sldId id="1040" r:id="rId10"/>
    <p:sldId id="342" r:id="rId11"/>
    <p:sldId id="258" r:id="rId12"/>
    <p:sldId id="1626" r:id="rId13"/>
    <p:sldId id="1074" r:id="rId14"/>
    <p:sldId id="275" r:id="rId15"/>
  </p:sldIdLst>
  <p:sldSz cx="12192000" cy="6858000"/>
  <p:notesSz cx="12192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58" d="100"/>
          <a:sy n="58" d="100"/>
        </p:scale>
        <p:origin x="-84" y="-20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70A724-62F7-4761-8054-6E9FFA977BE3}" type="datetimeFigureOut">
              <a:rPr lang="ru-RU" smtClean="0"/>
              <a:t>30.05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626650-D896-4755-89EF-37F21A63EA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5068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6943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8091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xmlns="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xmlns="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xmlns="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355993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B638301-4228-417A-8B0D-124E21BC33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4722BB13-E1BC-4490-AE35-9AF53511A7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157F53AF-89A4-4268-BA87-2C66EC13B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FCF3E-37BA-48E0-9C1B-6498E0093FD5}" type="datetimeFigureOut">
              <a:rPr lang="ru-RU" smtClean="0"/>
              <a:t>30.05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302E80D-68A8-492A-9E1C-A42EA4847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B78144C-D09B-4CC1-8DB2-738E51C9F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83329A-BBE7-4CC1-8F40-21CFF2446A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6563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42D499EF-F77F-4566-8D9F-EE2002539E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2473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4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493"/>
            <a:ext cx="5133975" cy="9896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8"/>
              </a:spcAft>
            </a:pP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6880"/>
            <a:ext cx="2743200" cy="9896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8"/>
              </a:spcAft>
            </a:pPr>
            <a:r>
              <a:rPr lang="ru-RU" sz="698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ru-RU" sz="698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17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7999"/>
                </a:lnTo>
                <a:lnTo>
                  <a:pt x="12192000" y="6857999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858229" y="420115"/>
            <a:ext cx="8475540" cy="7569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91903" y="3096259"/>
            <a:ext cx="7660640" cy="31038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6D6E71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30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2.png"/><Relationship Id="rId2" Type="http://schemas.openxmlformats.org/officeDocument/2006/relationships/tags" Target="../tags/tag7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0.png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.png"/><Relationship Id="rId14" Type="http://schemas.openxmlformats.org/officeDocument/2006/relationships/hyperlink" Target="https://&#1095;&#1077;&#1089;&#1090;&#1085;&#1099;&#1081;&#1079;&#1085;&#1072;&#1082;.&#1088;&#1092;/upload/%D0%9F%D0%BE%D1%81%D1%82%D0%B0%D0%BD%D0%BE%D0%B2%D0%BB%D0%B5%D0%BD%D0%B8%D0%B5%20%D0%BE%D1%82%202%20%D0%BD%D0%BE%D1%8F%D0%B1%D1%80%D1%8F%202020%20%D0%B3%D0%BE%D0%B4%D0%B0%20%E2%84%961779.pdf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5.jp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12" Type="http://schemas.openxmlformats.org/officeDocument/2006/relationships/image" Target="../media/image41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40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13" Type="http://schemas.openxmlformats.org/officeDocument/2006/relationships/image" Target="../media/image49.emf"/><Relationship Id="rId3" Type="http://schemas.openxmlformats.org/officeDocument/2006/relationships/hyperlink" Target="https://www.youtube.com/channel/UCkEJSvm2kK7Fc8nznr-oVlQ" TargetMode="External"/><Relationship Id="rId7" Type="http://schemas.openxmlformats.org/officeDocument/2006/relationships/image" Target="../media/image43.emf"/><Relationship Id="rId12" Type="http://schemas.openxmlformats.org/officeDocument/2006/relationships/image" Target="../media/image48.emf"/><Relationship Id="rId2" Type="http://schemas.openxmlformats.org/officeDocument/2006/relationships/hyperlink" Target="https://t.me/crptbreaking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facebook.com/crpt.ru/" TargetMode="External"/><Relationship Id="rId11" Type="http://schemas.openxmlformats.org/officeDocument/2006/relationships/image" Target="../media/image47.emf"/><Relationship Id="rId5" Type="http://schemas.openxmlformats.org/officeDocument/2006/relationships/hyperlink" Target="https://vk.com/crptec" TargetMode="External"/><Relationship Id="rId10" Type="http://schemas.openxmlformats.org/officeDocument/2006/relationships/image" Target="../media/image46.emf"/><Relationship Id="rId4" Type="http://schemas.openxmlformats.org/officeDocument/2006/relationships/hyperlink" Target="mailto:support@crpt.ru" TargetMode="External"/><Relationship Id="rId9" Type="http://schemas.openxmlformats.org/officeDocument/2006/relationships/image" Target="../media/image4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95;&#1077;&#1089;&#1090;&#1085;&#1099;&#1081;&#1079;&#1085;&#1072;&#1082;.&#1088;&#1092;/mobile_business/" TargetMode="External"/><Relationship Id="rId2" Type="http://schemas.openxmlformats.org/officeDocument/2006/relationships/hyperlink" Target="https://&#1095;&#1077;&#1089;&#1090;&#1085;&#1099;&#1081;&#1079;&#1085;&#1072;&#1082;.&#1088;&#1092;/edo_lite/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0" name="Object 18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90" name="Object 18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B7B86A0-244A-41A8-BA89-B12B5E6628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xmlns="" id="{0A6ADBA9-A16C-394F-8850-91ECB2149BBB}"/>
              </a:ext>
            </a:extLst>
          </p:cNvPr>
          <p:cNvGrpSpPr/>
          <p:nvPr/>
        </p:nvGrpSpPr>
        <p:grpSpPr>
          <a:xfrm>
            <a:off x="526343" y="2670471"/>
            <a:ext cx="1088149" cy="1080000"/>
            <a:chOff x="2854235" y="2820464"/>
            <a:chExt cx="1088149" cy="1080000"/>
          </a:xfrm>
        </p:grpSpPr>
        <p:sp>
          <p:nvSpPr>
            <p:cNvPr id="49" name="Скругленный прямоугольник 48">
              <a:extLst>
                <a:ext uri="{FF2B5EF4-FFF2-40B4-BE49-F238E27FC236}">
                  <a16:creationId xmlns:a16="http://schemas.microsoft.com/office/drawing/2014/main" xmlns="" id="{9A9272CF-D9E3-8B42-9203-51AE371777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54235" y="2820464"/>
              <a:ext cx="1088149" cy="108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xmlns="" id="{F635BA9B-9A61-5940-BA5E-54343D6F9C8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3015913" y="3000464"/>
              <a:ext cx="720000" cy="720000"/>
            </a:xfrm>
            <a:prstGeom prst="rect">
              <a:avLst/>
            </a:prstGeom>
          </p:spPr>
        </p:pic>
      </p:grpSp>
      <p:sp>
        <p:nvSpPr>
          <p:cNvPr id="51" name="Rectangle 24">
            <a:extLst>
              <a:ext uri="{FF2B5EF4-FFF2-40B4-BE49-F238E27FC236}">
                <a16:creationId xmlns:a16="http://schemas.microsoft.com/office/drawing/2014/main" xmlns="" id="{18B397B8-1486-FA48-B36A-07553D8C1498}"/>
              </a:ext>
            </a:extLst>
          </p:cNvPr>
          <p:cNvSpPr/>
          <p:nvPr/>
        </p:nvSpPr>
        <p:spPr>
          <a:xfrm>
            <a:off x="1849807" y="2988615"/>
            <a:ext cx="3606335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1956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декабр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xmlns="" id="{E068D844-0EBF-A742-86ED-FED1A579287F}"/>
              </a:ext>
            </a:extLst>
          </p:cNvPr>
          <p:cNvGrpSpPr/>
          <p:nvPr/>
        </p:nvGrpSpPr>
        <p:grpSpPr>
          <a:xfrm>
            <a:off x="519159" y="1362864"/>
            <a:ext cx="1088149" cy="1080000"/>
            <a:chOff x="703192" y="2554897"/>
            <a:chExt cx="1088149" cy="1080000"/>
          </a:xfrm>
        </p:grpSpPr>
        <p:sp>
          <p:nvSpPr>
            <p:cNvPr id="53" name="Скругленный прямоугольник 52">
              <a:extLst>
                <a:ext uri="{FF2B5EF4-FFF2-40B4-BE49-F238E27FC236}">
                  <a16:creationId xmlns:a16="http://schemas.microsoft.com/office/drawing/2014/main" xmlns="" id="{7A3EECC4-D28C-9B4E-9BB1-26497ED883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3192" y="2554897"/>
              <a:ext cx="1088149" cy="108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xmlns="" id="{5CB47674-FF58-3C46-A992-1C9F8FD9D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887266" y="2734897"/>
              <a:ext cx="720000" cy="720000"/>
            </a:xfrm>
            <a:prstGeom prst="rect">
              <a:avLst/>
            </a:prstGeom>
          </p:spPr>
        </p:pic>
      </p:grpSp>
      <p:sp>
        <p:nvSpPr>
          <p:cNvPr id="55" name="Rectangle 24">
            <a:extLst>
              <a:ext uri="{FF2B5EF4-FFF2-40B4-BE49-F238E27FC236}">
                <a16:creationId xmlns:a16="http://schemas.microsoft.com/office/drawing/2014/main" xmlns="" id="{4D812F27-E65A-5E4E-837B-297623F98CE0}"/>
              </a:ext>
            </a:extLst>
          </p:cNvPr>
          <p:cNvSpPr/>
          <p:nvPr/>
        </p:nvSpPr>
        <p:spPr>
          <a:xfrm>
            <a:off x="1849807" y="1704240"/>
            <a:ext cx="3416300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224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28 феврал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xmlns="" id="{1472C7C9-191D-9141-AEAF-AF94A71BA417}"/>
              </a:ext>
            </a:extLst>
          </p:cNvPr>
          <p:cNvGrpSpPr>
            <a:grpSpLocks noChangeAspect="1"/>
          </p:cNvGrpSpPr>
          <p:nvPr/>
        </p:nvGrpSpPr>
        <p:grpSpPr>
          <a:xfrm>
            <a:off x="529106" y="3978078"/>
            <a:ext cx="1088149" cy="1080000"/>
            <a:chOff x="6363951" y="5124357"/>
            <a:chExt cx="725433" cy="720000"/>
          </a:xfrm>
          <a:effectLst/>
        </p:grpSpPr>
        <p:sp>
          <p:nvSpPr>
            <p:cNvPr id="57" name="Скругленный прямоугольник 56">
              <a:extLst>
                <a:ext uri="{FF2B5EF4-FFF2-40B4-BE49-F238E27FC236}">
                  <a16:creationId xmlns:a16="http://schemas.microsoft.com/office/drawing/2014/main" xmlns="" id="{B2D87C9D-DA50-DC4A-B2DB-187D3167D9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xmlns="" id="{0AAB145C-E29B-6642-BD08-596EA491A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6484825" y="5244357"/>
              <a:ext cx="480000" cy="480000"/>
            </a:xfrm>
            <a:prstGeom prst="rect">
              <a:avLst/>
            </a:prstGeom>
            <a:ln>
              <a:noFill/>
            </a:ln>
            <a:effectLst/>
          </p:spPr>
        </p:pic>
      </p:grpSp>
      <p:sp>
        <p:nvSpPr>
          <p:cNvPr id="59" name="Rectangle 24">
            <a:extLst>
              <a:ext uri="{FF2B5EF4-FFF2-40B4-BE49-F238E27FC236}">
                <a16:creationId xmlns:a16="http://schemas.microsoft.com/office/drawing/2014/main" xmlns="" id="{260D8A0B-B7F4-044E-8E6A-D198ACF63D49}"/>
              </a:ext>
            </a:extLst>
          </p:cNvPr>
          <p:cNvSpPr/>
          <p:nvPr/>
        </p:nvSpPr>
        <p:spPr>
          <a:xfrm>
            <a:off x="1833723" y="4149663"/>
            <a:ext cx="3416300" cy="67197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тельства № 1953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декабр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xmlns="" id="{06077624-72E5-C24B-A6C6-7C28312509BF}"/>
              </a:ext>
            </a:extLst>
          </p:cNvPr>
          <p:cNvGrpSpPr/>
          <p:nvPr/>
        </p:nvGrpSpPr>
        <p:grpSpPr>
          <a:xfrm>
            <a:off x="6010275" y="2366973"/>
            <a:ext cx="1008939" cy="966125"/>
            <a:chOff x="8200051" y="2820464"/>
            <a:chExt cx="1088149" cy="1080000"/>
          </a:xfrm>
        </p:grpSpPr>
        <p:sp>
          <p:nvSpPr>
            <p:cNvPr id="61" name="Скругленный прямоугольник 60">
              <a:extLst>
                <a:ext uri="{FF2B5EF4-FFF2-40B4-BE49-F238E27FC236}">
                  <a16:creationId xmlns:a16="http://schemas.microsoft.com/office/drawing/2014/main" xmlns="" id="{4753548A-3365-784B-A340-1C004457D2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00051" y="2820464"/>
              <a:ext cx="1088149" cy="108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xmlns="" id="{9938146D-621A-3D45-B232-A7DF8860F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/>
            <a:stretch/>
          </p:blipFill>
          <p:spPr>
            <a:xfrm>
              <a:off x="8384124" y="2984135"/>
              <a:ext cx="720000" cy="720000"/>
            </a:xfrm>
            <a:prstGeom prst="rect">
              <a:avLst/>
            </a:prstGeom>
          </p:spPr>
        </p:pic>
      </p:grpSp>
      <p:sp>
        <p:nvSpPr>
          <p:cNvPr id="63" name="Rectangle 24">
            <a:extLst>
              <a:ext uri="{FF2B5EF4-FFF2-40B4-BE49-F238E27FC236}">
                <a16:creationId xmlns:a16="http://schemas.microsoft.com/office/drawing/2014/main" xmlns="" id="{BA522698-C187-8942-8658-33FDA462E827}"/>
              </a:ext>
            </a:extLst>
          </p:cNvPr>
          <p:cNvSpPr/>
          <p:nvPr/>
        </p:nvSpPr>
        <p:spPr>
          <a:xfrm>
            <a:off x="7346902" y="2641516"/>
            <a:ext cx="4072559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1957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декабр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xmlns="" id="{4A9BE297-5634-1E4E-BC63-DE547B79ED8C}"/>
              </a:ext>
            </a:extLst>
          </p:cNvPr>
          <p:cNvGrpSpPr>
            <a:grpSpLocks noChangeAspect="1"/>
          </p:cNvGrpSpPr>
          <p:nvPr/>
        </p:nvGrpSpPr>
        <p:grpSpPr>
          <a:xfrm>
            <a:off x="5986713" y="1230439"/>
            <a:ext cx="1032501" cy="1024769"/>
            <a:chOff x="6363951" y="5124357"/>
            <a:chExt cx="725433" cy="720000"/>
          </a:xfrm>
        </p:grpSpPr>
        <p:sp>
          <p:nvSpPr>
            <p:cNvPr id="66" name="Скругленный прямоугольник 65">
              <a:extLst>
                <a:ext uri="{FF2B5EF4-FFF2-40B4-BE49-F238E27FC236}">
                  <a16:creationId xmlns:a16="http://schemas.microsoft.com/office/drawing/2014/main" xmlns="" id="{0CCDF259-4630-464A-9F39-D02A77EF0D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67" name="Рисунок 66">
              <a:extLst>
                <a:ext uri="{FF2B5EF4-FFF2-40B4-BE49-F238E27FC236}">
                  <a16:creationId xmlns:a16="http://schemas.microsoft.com/office/drawing/2014/main" xmlns="" id="{7EB95FEA-351B-CE43-B470-B6E0B0D8F0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/>
            <a:stretch/>
          </p:blipFill>
          <p:spPr>
            <a:xfrm>
              <a:off x="6486667" y="5233723"/>
              <a:ext cx="480000" cy="480000"/>
            </a:xfrm>
            <a:prstGeom prst="rect">
              <a:avLst/>
            </a:prstGeom>
          </p:spPr>
        </p:pic>
      </p:grpSp>
      <p:sp>
        <p:nvSpPr>
          <p:cNvPr id="68" name="Rectangle 24">
            <a:extLst>
              <a:ext uri="{FF2B5EF4-FFF2-40B4-BE49-F238E27FC236}">
                <a16:creationId xmlns:a16="http://schemas.microsoft.com/office/drawing/2014/main" xmlns="" id="{EAC127DD-EFEB-3B4B-906B-A0D8E7F321BC}"/>
              </a:ext>
            </a:extLst>
          </p:cNvPr>
          <p:cNvSpPr/>
          <p:nvPr/>
        </p:nvSpPr>
        <p:spPr>
          <a:xfrm>
            <a:off x="7346902" y="1488165"/>
            <a:ext cx="3538704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860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5 июл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xmlns="" id="{98DD1EFC-A792-914C-BB2E-46CF195B558E}"/>
              </a:ext>
            </a:extLst>
          </p:cNvPr>
          <p:cNvGrpSpPr>
            <a:grpSpLocks noChangeAspect="1"/>
          </p:cNvGrpSpPr>
          <p:nvPr/>
        </p:nvGrpSpPr>
        <p:grpSpPr>
          <a:xfrm>
            <a:off x="6010274" y="3467752"/>
            <a:ext cx="1008939" cy="1001383"/>
            <a:chOff x="6363951" y="5124357"/>
            <a:chExt cx="725433" cy="720000"/>
          </a:xfrm>
          <a:effectLst/>
        </p:grpSpPr>
        <p:sp>
          <p:nvSpPr>
            <p:cNvPr id="70" name="Скругленный прямоугольник 69">
              <a:extLst>
                <a:ext uri="{FF2B5EF4-FFF2-40B4-BE49-F238E27FC236}">
                  <a16:creationId xmlns:a16="http://schemas.microsoft.com/office/drawing/2014/main" xmlns="" id="{CD0C53D8-764D-0E47-A622-F3204C1220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2" name="Рисунок 71">
              <a:extLst>
                <a:ext uri="{FF2B5EF4-FFF2-40B4-BE49-F238E27FC236}">
                  <a16:creationId xmlns:a16="http://schemas.microsoft.com/office/drawing/2014/main" xmlns="" id="{92EF62DB-B21E-C94C-8E65-34A2250B80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/>
          </p:blipFill>
          <p:spPr>
            <a:xfrm>
              <a:off x="6486667" y="5247912"/>
              <a:ext cx="480000" cy="480000"/>
            </a:xfrm>
            <a:prstGeom prst="rect">
              <a:avLst/>
            </a:prstGeom>
          </p:spPr>
        </p:pic>
      </p:grpSp>
      <p:sp>
        <p:nvSpPr>
          <p:cNvPr id="73" name="Rectangle 24">
            <a:extLst>
              <a:ext uri="{FF2B5EF4-FFF2-40B4-BE49-F238E27FC236}">
                <a16:creationId xmlns:a16="http://schemas.microsoft.com/office/drawing/2014/main" xmlns="" id="{6DFEEC39-7303-9242-BA76-027F50546CCE}"/>
              </a:ext>
            </a:extLst>
          </p:cNvPr>
          <p:cNvSpPr/>
          <p:nvPr/>
        </p:nvSpPr>
        <p:spPr>
          <a:xfrm>
            <a:off x="7370463" y="3782628"/>
            <a:ext cx="3515143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1958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декабря 2019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xmlns="" id="{CDB3AAFC-468C-F04C-AC45-CD236D8E8DF2}"/>
              </a:ext>
            </a:extLst>
          </p:cNvPr>
          <p:cNvGrpSpPr>
            <a:grpSpLocks noChangeAspect="1"/>
          </p:cNvGrpSpPr>
          <p:nvPr/>
        </p:nvGrpSpPr>
        <p:grpSpPr>
          <a:xfrm>
            <a:off x="5986713" y="88499"/>
            <a:ext cx="1032501" cy="1024769"/>
            <a:chOff x="6363951" y="5124357"/>
            <a:chExt cx="725433" cy="720000"/>
          </a:xfrm>
        </p:grpSpPr>
        <p:sp>
          <p:nvSpPr>
            <p:cNvPr id="77" name="Скругленный прямоугольник 76">
              <a:extLst>
                <a:ext uri="{FF2B5EF4-FFF2-40B4-BE49-F238E27FC236}">
                  <a16:creationId xmlns:a16="http://schemas.microsoft.com/office/drawing/2014/main" xmlns="" id="{992E52A7-9985-9948-83E8-D31BC70F47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63951" y="5124357"/>
              <a:ext cx="725433" cy="720000"/>
            </a:xfrm>
            <a:prstGeom prst="roundRect">
              <a:avLst/>
            </a:prstGeom>
            <a:solidFill>
              <a:schemeClr val="bg1"/>
            </a:solidFill>
            <a:ln w="508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pic>
          <p:nvPicPr>
            <p:cNvPr id="78" name="Рисунок 77">
              <a:extLst>
                <a:ext uri="{FF2B5EF4-FFF2-40B4-BE49-F238E27FC236}">
                  <a16:creationId xmlns:a16="http://schemas.microsoft.com/office/drawing/2014/main" xmlns="" id="{23C9DF26-18CB-4B42-9FF4-19066E0B11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86667" y="5233723"/>
              <a:ext cx="480000" cy="480000"/>
            </a:xfrm>
            <a:prstGeom prst="rect">
              <a:avLst/>
            </a:prstGeom>
          </p:spPr>
        </p:pic>
      </p:grpSp>
      <p:sp>
        <p:nvSpPr>
          <p:cNvPr id="79" name="Rectangle 24">
            <a:extLst>
              <a:ext uri="{FF2B5EF4-FFF2-40B4-BE49-F238E27FC236}">
                <a16:creationId xmlns:a16="http://schemas.microsoft.com/office/drawing/2014/main" xmlns="" id="{45432A2B-50C8-3840-93D7-6996534AED51}"/>
              </a:ext>
            </a:extLst>
          </p:cNvPr>
          <p:cNvSpPr/>
          <p:nvPr/>
        </p:nvSpPr>
        <p:spPr>
          <a:xfrm>
            <a:off x="7346901" y="346225"/>
            <a:ext cx="4486839" cy="88742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1556 и № 1557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14 декабря 2018 года</a:t>
            </a:r>
          </a:p>
          <a:p>
            <a:pPr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  <a:hlinkClick r:id="rId1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Постановление </a:t>
            </a: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тельства </a:t>
            </a: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  <a:hlinkClick r:id="rId1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от 2 ноября 2020 года №1779</a:t>
            </a:r>
            <a:endParaRPr lang="ru-RU" sz="1400" b="0" spc="5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82" name="Скругленный прямоугольник 81">
            <a:extLst>
              <a:ext uri="{FF2B5EF4-FFF2-40B4-BE49-F238E27FC236}">
                <a16:creationId xmlns:a16="http://schemas.microsoft.com/office/drawing/2014/main" xmlns="" id="{4E996DFF-9CA1-0045-94A7-A108D0FFE1B6}"/>
              </a:ext>
            </a:extLst>
          </p:cNvPr>
          <p:cNvSpPr/>
          <p:nvPr/>
        </p:nvSpPr>
        <p:spPr>
          <a:xfrm>
            <a:off x="65419" y="59589"/>
            <a:ext cx="3914000" cy="126855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845DC81A-F02F-7843-83FB-853982F245AB}"/>
              </a:ext>
            </a:extLst>
          </p:cNvPr>
          <p:cNvSpPr txBox="1"/>
          <p:nvPr/>
        </p:nvSpPr>
        <p:spPr>
          <a:xfrm>
            <a:off x="272535" y="106751"/>
            <a:ext cx="460001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р</a:t>
            </a:r>
            <a:r>
              <a:rPr lang="en-US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тивная </a:t>
            </a:r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аза (вступили в силу)</a:t>
            </a:r>
          </a:p>
        </p:txBody>
      </p:sp>
      <p:sp>
        <p:nvSpPr>
          <p:cNvPr id="35" name="Скругленный прямоугольник 69">
            <a:extLst>
              <a:ext uri="{FF2B5EF4-FFF2-40B4-BE49-F238E27FC236}">
                <a16:creationId xmlns:a16="http://schemas.microsoft.com/office/drawing/2014/main" xmlns="" id="{AD0EC27F-7145-4644-92B2-A57F31A99A46}"/>
              </a:ext>
            </a:extLst>
          </p:cNvPr>
          <p:cNvSpPr>
            <a:spLocks noChangeAspect="1"/>
          </p:cNvSpPr>
          <p:nvPr/>
        </p:nvSpPr>
        <p:spPr>
          <a:xfrm>
            <a:off x="6010274" y="4603740"/>
            <a:ext cx="1008939" cy="1001383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67E3EA40-3245-46AD-8E4D-FB91D7FEA55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89482" y="4755074"/>
            <a:ext cx="755070" cy="755070"/>
          </a:xfrm>
          <a:prstGeom prst="rect">
            <a:avLst/>
          </a:prstGeom>
        </p:spPr>
      </p:pic>
      <p:sp>
        <p:nvSpPr>
          <p:cNvPr id="38" name="Rectangle 24">
            <a:extLst>
              <a:ext uri="{FF2B5EF4-FFF2-40B4-BE49-F238E27FC236}">
                <a16:creationId xmlns:a16="http://schemas.microsoft.com/office/drawing/2014/main" xmlns="" id="{93FD8272-C90F-4EE6-9CC0-AA00CBC335D5}"/>
              </a:ext>
            </a:extLst>
          </p:cNvPr>
          <p:cNvSpPr/>
          <p:nvPr/>
        </p:nvSpPr>
        <p:spPr>
          <a:xfrm>
            <a:off x="7370463" y="4924647"/>
            <a:ext cx="3515143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2099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15 декабря 2020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sp>
        <p:nvSpPr>
          <p:cNvPr id="40" name="Скругленный прямоугольник 56">
            <a:extLst>
              <a:ext uri="{FF2B5EF4-FFF2-40B4-BE49-F238E27FC236}">
                <a16:creationId xmlns:a16="http://schemas.microsoft.com/office/drawing/2014/main" xmlns="" id="{A8BAF4A0-975E-46CC-88ED-9AA7C0023A1B}"/>
              </a:ext>
            </a:extLst>
          </p:cNvPr>
          <p:cNvSpPr>
            <a:spLocks noChangeAspect="1"/>
          </p:cNvSpPr>
          <p:nvPr/>
        </p:nvSpPr>
        <p:spPr>
          <a:xfrm>
            <a:off x="560477" y="5210478"/>
            <a:ext cx="1088149" cy="1080000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2" name="Rectangle 24">
            <a:extLst>
              <a:ext uri="{FF2B5EF4-FFF2-40B4-BE49-F238E27FC236}">
                <a16:creationId xmlns:a16="http://schemas.microsoft.com/office/drawing/2014/main" xmlns="" id="{00493F5F-00DA-40DD-9716-73E3996C115D}"/>
              </a:ext>
            </a:extLst>
          </p:cNvPr>
          <p:cNvSpPr/>
          <p:nvPr/>
        </p:nvSpPr>
        <p:spPr>
          <a:xfrm>
            <a:off x="1920666" y="5222399"/>
            <a:ext cx="3416300" cy="67197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Распоряжение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равительства № 3322-р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15 декабря 2020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BE90D681-349A-4B0A-98BA-AD50A5C13AF1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4012" t="62266" r="91976" b="32558"/>
          <a:stretch/>
        </p:blipFill>
        <p:spPr>
          <a:xfrm>
            <a:off x="763421" y="5508437"/>
            <a:ext cx="666996" cy="484082"/>
          </a:xfrm>
          <a:prstGeom prst="rect">
            <a:avLst/>
          </a:prstGeom>
        </p:spPr>
      </p:pic>
      <p:sp>
        <p:nvSpPr>
          <p:cNvPr id="41" name="Скругленный прямоугольник 69">
            <a:extLst>
              <a:ext uri="{FF2B5EF4-FFF2-40B4-BE49-F238E27FC236}">
                <a16:creationId xmlns:a16="http://schemas.microsoft.com/office/drawing/2014/main" xmlns="" id="{42B907D1-3EF2-43DD-9877-87CE73676DD0}"/>
              </a:ext>
            </a:extLst>
          </p:cNvPr>
          <p:cNvSpPr>
            <a:spLocks noChangeAspect="1"/>
          </p:cNvSpPr>
          <p:nvPr/>
        </p:nvSpPr>
        <p:spPr>
          <a:xfrm>
            <a:off x="6010275" y="5729304"/>
            <a:ext cx="1054130" cy="1046236"/>
          </a:xfrm>
          <a:prstGeom prst="roundRect">
            <a:avLst/>
          </a:prstGeom>
          <a:solidFill>
            <a:schemeClr val="bg1"/>
          </a:solidFill>
          <a:ln w="5080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5" name="Rectangle 24">
            <a:extLst>
              <a:ext uri="{FF2B5EF4-FFF2-40B4-BE49-F238E27FC236}">
                <a16:creationId xmlns:a16="http://schemas.microsoft.com/office/drawing/2014/main" xmlns="" id="{A8929D66-C64E-418D-83CB-E71DDD98045D}"/>
              </a:ext>
            </a:extLst>
          </p:cNvPr>
          <p:cNvSpPr/>
          <p:nvPr/>
        </p:nvSpPr>
        <p:spPr>
          <a:xfrm>
            <a:off x="7370463" y="6064072"/>
            <a:ext cx="3515143" cy="443711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Постановление правительства № 841 </a:t>
            </a:r>
          </a:p>
          <a:p>
            <a:pPr>
              <a:lnSpc>
                <a:spcPct val="100000"/>
              </a:lnSpc>
              <a:spcBef>
                <a:spcPts val="114"/>
              </a:spcBef>
            </a:pPr>
            <a:r>
              <a:rPr lang="ru-RU" sz="1400" b="0" spc="5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/>
              </a:rPr>
              <a:t>от 31 мая 2021 года</a:t>
            </a:r>
            <a:endParaRPr lang="ru-RU" sz="1400" b="0" dirty="0">
              <a:solidFill>
                <a:srgbClr val="6D6E7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xmlns="" id="{74D72516-26E1-497B-814D-536E6AACACE4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9" r="43160"/>
          <a:stretch/>
        </p:blipFill>
        <p:spPr>
          <a:xfrm>
            <a:off x="6202785" y="5855025"/>
            <a:ext cx="528464" cy="885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72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17">
            <a:extLst>
              <a:ext uri="{FF2B5EF4-FFF2-40B4-BE49-F238E27FC236}">
                <a16:creationId xmlns:a16="http://schemas.microsoft.com/office/drawing/2014/main" xmlns="" id="{D15A2EE4-503D-CC42-A4AE-9EC6696BEC76}"/>
              </a:ext>
            </a:extLst>
          </p:cNvPr>
          <p:cNvSpPr/>
          <p:nvPr/>
        </p:nvSpPr>
        <p:spPr>
          <a:xfrm>
            <a:off x="8077486" y="0"/>
            <a:ext cx="4114513" cy="686794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xmlns="" id="{C6CAE637-6CA8-A54E-8CF0-E17ABBC7F252}"/>
              </a:ext>
            </a:extLst>
          </p:cNvPr>
          <p:cNvSpPr/>
          <p:nvPr/>
        </p:nvSpPr>
        <p:spPr>
          <a:xfrm>
            <a:off x="516000" y="359999"/>
            <a:ext cx="7084013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ДО </a:t>
            </a:r>
            <a:r>
              <a:rPr lang="en-GB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te</a:t>
            </a: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|</a:t>
            </a: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Условия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F480D95-64B0-9A40-89CC-C4D9D1CFA727}"/>
              </a:ext>
            </a:extLst>
          </p:cNvPr>
          <p:cNvSpPr/>
          <p:nvPr/>
        </p:nvSpPr>
        <p:spPr>
          <a:xfrm>
            <a:off x="248998" y="1209165"/>
            <a:ext cx="7828488" cy="5124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ервис ЭДО Лайт – бесплатный сертифицированный ФНС провайдер электронного документооборота (ЭДО), интегрированный в личный кабинет Государственной информационной системы мониторинга оборота товара (ГИС МТ).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мен с контрагентами, зарегистрированными в ГИС МТ в качестве участников оборота маркируемой продукции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астникам оборота маркируемой продукции доступен обмен формализованными документами, содержащими коды маркировки:</a:t>
            </a:r>
          </a:p>
          <a:p>
            <a:pPr marL="742950" lvl="1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 (СЧФДОП, ДОП)</a:t>
            </a:r>
          </a:p>
          <a:p>
            <a:pPr marL="742950" lvl="1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Д (КСЧФДИС, ДИС)</a:t>
            </a:r>
          </a:p>
          <a:p>
            <a:pPr marL="742950" lvl="1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ннулирование по формату РОСЭУ</a:t>
            </a:r>
            <a:endParaRPr lang="en-US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742950" lvl="1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зможность работы с входящими неформализованными документами (Договора, акты и т.д.)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амках сервиса</a:t>
            </a:r>
            <a:r>
              <a:rPr lang="en-US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возможен обмен формализованными документами, которые не содержат кодов маркировки</a:t>
            </a:r>
          </a:p>
          <a:p>
            <a:pPr marL="285750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работе через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I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ite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сутствует ограничение на 1000 исходящих документов в год (остаток кол-ва не переходит на следующий год), через веб-интерфейс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личество документов не ограничивается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772D05A-D697-C64C-B8F5-477286108FC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734925" y="1486950"/>
            <a:ext cx="4114512" cy="388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7707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356615"/>
            <a:ext cx="289560" cy="721360"/>
          </a:xfrm>
          <a:custGeom>
            <a:avLst/>
            <a:gdLst/>
            <a:ahLst/>
            <a:cxnLst/>
            <a:rect l="l" t="t" r="r" b="b"/>
            <a:pathLst>
              <a:path w="289560" h="721360">
                <a:moveTo>
                  <a:pt x="190500" y="0"/>
                </a:moveTo>
                <a:lnTo>
                  <a:pt x="0" y="0"/>
                </a:lnTo>
                <a:lnTo>
                  <a:pt x="0" y="720851"/>
                </a:lnTo>
                <a:lnTo>
                  <a:pt x="190500" y="720851"/>
                </a:lnTo>
                <a:lnTo>
                  <a:pt x="229059" y="713071"/>
                </a:lnTo>
                <a:lnTo>
                  <a:pt x="260546" y="691848"/>
                </a:lnTo>
                <a:lnTo>
                  <a:pt x="281775" y="660362"/>
                </a:lnTo>
                <a:lnTo>
                  <a:pt x="289560" y="621792"/>
                </a:lnTo>
                <a:lnTo>
                  <a:pt x="289560" y="99060"/>
                </a:lnTo>
                <a:lnTo>
                  <a:pt x="281775" y="60489"/>
                </a:lnTo>
                <a:lnTo>
                  <a:pt x="260546" y="29003"/>
                </a:lnTo>
                <a:lnTo>
                  <a:pt x="229059" y="7780"/>
                </a:lnTo>
                <a:lnTo>
                  <a:pt x="190500" y="0"/>
                </a:lnTo>
                <a:close/>
              </a:path>
            </a:pathLst>
          </a:custGeom>
          <a:solidFill>
            <a:srgbClr val="F6F52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036510" y="1339088"/>
            <a:ext cx="3484245" cy="2106295"/>
          </a:xfrm>
          <a:custGeom>
            <a:avLst/>
            <a:gdLst/>
            <a:ahLst/>
            <a:cxnLst/>
            <a:rect l="l" t="t" r="r" b="b"/>
            <a:pathLst>
              <a:path w="3484245" h="2106295">
                <a:moveTo>
                  <a:pt x="3408806" y="0"/>
                </a:moveTo>
                <a:lnTo>
                  <a:pt x="75057" y="0"/>
                </a:lnTo>
                <a:lnTo>
                  <a:pt x="45862" y="5905"/>
                </a:lnTo>
                <a:lnTo>
                  <a:pt x="22002" y="22002"/>
                </a:lnTo>
                <a:lnTo>
                  <a:pt x="5905" y="45862"/>
                </a:lnTo>
                <a:lnTo>
                  <a:pt x="0" y="75057"/>
                </a:lnTo>
                <a:lnTo>
                  <a:pt x="0" y="2031111"/>
                </a:lnTo>
                <a:lnTo>
                  <a:pt x="5905" y="2060305"/>
                </a:lnTo>
                <a:lnTo>
                  <a:pt x="22002" y="2084165"/>
                </a:lnTo>
                <a:lnTo>
                  <a:pt x="45862" y="2100262"/>
                </a:lnTo>
                <a:lnTo>
                  <a:pt x="75057" y="2106168"/>
                </a:lnTo>
                <a:lnTo>
                  <a:pt x="3408806" y="2106168"/>
                </a:lnTo>
                <a:lnTo>
                  <a:pt x="3438001" y="2100262"/>
                </a:lnTo>
                <a:lnTo>
                  <a:pt x="3461861" y="2084165"/>
                </a:lnTo>
                <a:lnTo>
                  <a:pt x="3477958" y="2060305"/>
                </a:lnTo>
                <a:lnTo>
                  <a:pt x="3483864" y="2031111"/>
                </a:lnTo>
                <a:lnTo>
                  <a:pt x="3483864" y="75057"/>
                </a:lnTo>
                <a:lnTo>
                  <a:pt x="3477958" y="45862"/>
                </a:lnTo>
                <a:lnTo>
                  <a:pt x="3461861" y="22002"/>
                </a:lnTo>
                <a:lnTo>
                  <a:pt x="3438001" y="5905"/>
                </a:lnTo>
                <a:lnTo>
                  <a:pt x="340880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137221" y="1389125"/>
            <a:ext cx="198564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10" dirty="0">
                <a:solidFill>
                  <a:srgbClr val="3A393C"/>
                </a:solidFill>
                <a:latin typeface="Segoe UI"/>
                <a:cs typeface="Segoe UI"/>
              </a:rPr>
              <a:t>Работа</a:t>
            </a:r>
            <a:r>
              <a:rPr sz="1400" b="1" spc="-5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с</a:t>
            </a:r>
            <a:r>
              <a:rPr sz="1400" b="1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документами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37221" y="1603476"/>
            <a:ext cx="2865755" cy="1748155"/>
          </a:xfrm>
          <a:prstGeom prst="rect">
            <a:avLst/>
          </a:prstGeom>
        </p:spPr>
        <p:txBody>
          <a:bodyPr vert="horz" wrap="square" lIns="0" tIns="50800" rIns="0" bIns="0" rtlCol="0">
            <a:spAutoFit/>
          </a:bodyPr>
          <a:lstStyle/>
          <a:p>
            <a:pPr marL="228600" indent="-216535">
              <a:lnSpc>
                <a:spcPct val="100000"/>
              </a:lnSpc>
              <a:spcBef>
                <a:spcPts val="4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Ввод</a:t>
            </a:r>
            <a:r>
              <a:rPr sz="1400" spc="-4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в</a:t>
            </a:r>
            <a:r>
              <a:rPr sz="1400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оборот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Вывод</a:t>
            </a:r>
            <a:r>
              <a:rPr sz="1400" spc="-4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из</a:t>
            </a:r>
            <a:r>
              <a:rPr sz="1400" spc="-2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оборота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Агрегирование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Расформирование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УПД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(отгрузка)</a:t>
            </a:r>
            <a:endParaRPr sz="1400">
              <a:latin typeface="Segoe UI"/>
              <a:cs typeface="Segoe UI"/>
            </a:endParaRPr>
          </a:p>
          <a:p>
            <a:pPr marL="228600" indent="-216535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28600" algn="l"/>
                <a:tab pos="229235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УПД</a:t>
            </a:r>
            <a:r>
              <a:rPr sz="1400" spc="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(приёмка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и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формирование</a:t>
            </a:r>
            <a:endParaRPr sz="1400">
              <a:latin typeface="Segoe UI"/>
              <a:cs typeface="Segoe UI"/>
            </a:endParaRPr>
          </a:p>
          <a:p>
            <a:pPr marL="228600">
              <a:lnSpc>
                <a:spcPct val="100000"/>
              </a:lnSpc>
            </a:pP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акта</a:t>
            </a:r>
            <a:r>
              <a:rPr sz="1400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о</a:t>
            </a:r>
            <a:r>
              <a:rPr sz="1400" spc="-1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расхождении)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036510" y="3529075"/>
            <a:ext cx="3484245" cy="559435"/>
          </a:xfrm>
          <a:custGeom>
            <a:avLst/>
            <a:gdLst/>
            <a:ahLst/>
            <a:cxnLst/>
            <a:rect l="l" t="t" r="r" b="b"/>
            <a:pathLst>
              <a:path w="3484245" h="559435">
                <a:moveTo>
                  <a:pt x="3415283" y="0"/>
                </a:moveTo>
                <a:lnTo>
                  <a:pt x="68580" y="0"/>
                </a:lnTo>
                <a:lnTo>
                  <a:pt x="41898" y="5393"/>
                </a:lnTo>
                <a:lnTo>
                  <a:pt x="20097" y="20097"/>
                </a:lnTo>
                <a:lnTo>
                  <a:pt x="5393" y="41898"/>
                </a:lnTo>
                <a:lnTo>
                  <a:pt x="0" y="68580"/>
                </a:lnTo>
                <a:lnTo>
                  <a:pt x="0" y="490728"/>
                </a:lnTo>
                <a:lnTo>
                  <a:pt x="5393" y="517409"/>
                </a:lnTo>
                <a:lnTo>
                  <a:pt x="20097" y="539210"/>
                </a:lnTo>
                <a:lnTo>
                  <a:pt x="41898" y="553914"/>
                </a:lnTo>
                <a:lnTo>
                  <a:pt x="68580" y="559308"/>
                </a:lnTo>
                <a:lnTo>
                  <a:pt x="3415283" y="559308"/>
                </a:lnTo>
                <a:lnTo>
                  <a:pt x="3441965" y="553914"/>
                </a:lnTo>
                <a:lnTo>
                  <a:pt x="3463766" y="539210"/>
                </a:lnTo>
                <a:lnTo>
                  <a:pt x="3478470" y="517409"/>
                </a:lnTo>
                <a:lnTo>
                  <a:pt x="3483864" y="490728"/>
                </a:lnTo>
                <a:lnTo>
                  <a:pt x="3483864" y="68580"/>
                </a:lnTo>
                <a:lnTo>
                  <a:pt x="3478470" y="41898"/>
                </a:lnTo>
                <a:lnTo>
                  <a:pt x="3463766" y="20097"/>
                </a:lnTo>
                <a:lnTo>
                  <a:pt x="3441965" y="5393"/>
                </a:lnTo>
                <a:lnTo>
                  <a:pt x="34152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036510" y="4152392"/>
            <a:ext cx="3484245" cy="1071880"/>
          </a:xfrm>
          <a:custGeom>
            <a:avLst/>
            <a:gdLst/>
            <a:ahLst/>
            <a:cxnLst/>
            <a:rect l="l" t="t" r="r" b="b"/>
            <a:pathLst>
              <a:path w="3484245" h="1071879">
                <a:moveTo>
                  <a:pt x="3409696" y="0"/>
                </a:moveTo>
                <a:lnTo>
                  <a:pt x="74168" y="0"/>
                </a:lnTo>
                <a:lnTo>
                  <a:pt x="45273" y="5820"/>
                </a:lnTo>
                <a:lnTo>
                  <a:pt x="21701" y="21701"/>
                </a:lnTo>
                <a:lnTo>
                  <a:pt x="5820" y="45273"/>
                </a:lnTo>
                <a:lnTo>
                  <a:pt x="0" y="74167"/>
                </a:lnTo>
                <a:lnTo>
                  <a:pt x="0" y="997203"/>
                </a:lnTo>
                <a:lnTo>
                  <a:pt x="5820" y="1026098"/>
                </a:lnTo>
                <a:lnTo>
                  <a:pt x="21701" y="1049670"/>
                </a:lnTo>
                <a:lnTo>
                  <a:pt x="45273" y="1065551"/>
                </a:lnTo>
                <a:lnTo>
                  <a:pt x="74168" y="1071371"/>
                </a:lnTo>
                <a:lnTo>
                  <a:pt x="3409696" y="1071371"/>
                </a:lnTo>
                <a:lnTo>
                  <a:pt x="3438590" y="1065551"/>
                </a:lnTo>
                <a:lnTo>
                  <a:pt x="3462162" y="1049670"/>
                </a:lnTo>
                <a:lnTo>
                  <a:pt x="3478043" y="1026098"/>
                </a:lnTo>
                <a:lnTo>
                  <a:pt x="3483864" y="997203"/>
                </a:lnTo>
                <a:lnTo>
                  <a:pt x="3483864" y="74167"/>
                </a:lnTo>
                <a:lnTo>
                  <a:pt x="3478043" y="45273"/>
                </a:lnTo>
                <a:lnTo>
                  <a:pt x="3462162" y="21701"/>
                </a:lnTo>
                <a:lnTo>
                  <a:pt x="3438590" y="5820"/>
                </a:lnTo>
                <a:lnTo>
                  <a:pt x="340969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036510" y="5298439"/>
            <a:ext cx="3484245" cy="559435"/>
          </a:xfrm>
          <a:custGeom>
            <a:avLst/>
            <a:gdLst/>
            <a:ahLst/>
            <a:cxnLst/>
            <a:rect l="l" t="t" r="r" b="b"/>
            <a:pathLst>
              <a:path w="3484245" h="559435">
                <a:moveTo>
                  <a:pt x="3415283" y="0"/>
                </a:moveTo>
                <a:lnTo>
                  <a:pt x="68580" y="0"/>
                </a:lnTo>
                <a:lnTo>
                  <a:pt x="41898" y="5393"/>
                </a:lnTo>
                <a:lnTo>
                  <a:pt x="20097" y="20097"/>
                </a:lnTo>
                <a:lnTo>
                  <a:pt x="5393" y="41898"/>
                </a:lnTo>
                <a:lnTo>
                  <a:pt x="0" y="68579"/>
                </a:lnTo>
                <a:lnTo>
                  <a:pt x="0" y="490727"/>
                </a:lnTo>
                <a:lnTo>
                  <a:pt x="5393" y="517420"/>
                </a:lnTo>
                <a:lnTo>
                  <a:pt x="20097" y="539219"/>
                </a:lnTo>
                <a:lnTo>
                  <a:pt x="41898" y="553918"/>
                </a:lnTo>
                <a:lnTo>
                  <a:pt x="68580" y="559307"/>
                </a:lnTo>
                <a:lnTo>
                  <a:pt x="3415283" y="559307"/>
                </a:lnTo>
                <a:lnTo>
                  <a:pt x="3441965" y="553918"/>
                </a:lnTo>
                <a:lnTo>
                  <a:pt x="3463766" y="539219"/>
                </a:lnTo>
                <a:lnTo>
                  <a:pt x="3478470" y="517420"/>
                </a:lnTo>
                <a:lnTo>
                  <a:pt x="3483864" y="490727"/>
                </a:lnTo>
                <a:lnTo>
                  <a:pt x="3483864" y="68579"/>
                </a:lnTo>
                <a:lnTo>
                  <a:pt x="3478470" y="41898"/>
                </a:lnTo>
                <a:lnTo>
                  <a:pt x="3463766" y="20097"/>
                </a:lnTo>
                <a:lnTo>
                  <a:pt x="3441965" y="5393"/>
                </a:lnTo>
                <a:lnTo>
                  <a:pt x="341528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1135316" y="3578860"/>
            <a:ext cx="3199130" cy="22225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466725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Подсказки</a:t>
            </a:r>
            <a:r>
              <a:rPr sz="1400" b="1" spc="-2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на</a:t>
            </a:r>
            <a:r>
              <a:rPr sz="1400" b="1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основных</a:t>
            </a:r>
            <a:r>
              <a:rPr sz="1400" b="1" spc="-5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этапах </a:t>
            </a:r>
            <a:r>
              <a:rPr sz="1400" b="1" spc="-37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работы</a:t>
            </a:r>
            <a:r>
              <a:rPr sz="1400" b="1" spc="-5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с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приложением</a:t>
            </a:r>
            <a:endParaRPr sz="1400">
              <a:latin typeface="Segoe UI"/>
              <a:cs typeface="Segoe UI"/>
            </a:endParaRPr>
          </a:p>
          <a:p>
            <a:pPr marL="13970">
              <a:lnSpc>
                <a:spcPct val="100000"/>
              </a:lnSpc>
              <a:spcBef>
                <a:spcPts val="1555"/>
              </a:spcBef>
            </a:pP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Универсальный</a:t>
            </a:r>
            <a:r>
              <a:rPr sz="1400" b="1" spc="-3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сканер</a:t>
            </a:r>
            <a:endParaRPr sz="1400">
              <a:latin typeface="Segoe UI"/>
              <a:cs typeface="Segoe UI"/>
            </a:endParaRPr>
          </a:p>
          <a:p>
            <a:pPr marL="230504" indent="-217170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30504" algn="l"/>
                <a:tab pos="231140" algn="l"/>
              </a:tabLst>
            </a:pP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Информация</a:t>
            </a:r>
            <a:r>
              <a:rPr sz="1400" spc="-3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о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товаре</a:t>
            </a:r>
            <a:r>
              <a:rPr sz="1400" spc="-2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или</a:t>
            </a:r>
            <a:r>
              <a:rPr sz="1400" spc="-2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агрегате,</a:t>
            </a:r>
            <a:endParaRPr sz="1400">
              <a:latin typeface="Segoe UI"/>
              <a:cs typeface="Segoe UI"/>
            </a:endParaRPr>
          </a:p>
          <a:p>
            <a:pPr marL="230504">
              <a:lnSpc>
                <a:spcPct val="100000"/>
              </a:lnSpc>
              <a:spcBef>
                <a:spcPts val="5"/>
              </a:spcBef>
            </a:pP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в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 том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числе</a:t>
            </a:r>
            <a:r>
              <a:rPr sz="1400" spc="-1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о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владельце</a:t>
            </a:r>
            <a:endParaRPr sz="1400">
              <a:latin typeface="Segoe UI"/>
              <a:cs typeface="Segoe UI"/>
            </a:endParaRPr>
          </a:p>
          <a:p>
            <a:pPr marL="230504" indent="-217170">
              <a:lnSpc>
                <a:spcPct val="100000"/>
              </a:lnSpc>
              <a:spcBef>
                <a:spcPts val="300"/>
              </a:spcBef>
              <a:buFont typeface="Arial MT"/>
              <a:buChar char="•"/>
              <a:tabLst>
                <a:tab pos="230504" algn="l"/>
                <a:tab pos="231140" algn="l"/>
              </a:tabLst>
            </a:pP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Просмотр</a:t>
            </a:r>
            <a:r>
              <a:rPr sz="1400" spc="-2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3A393C"/>
                </a:solidFill>
                <a:latin typeface="Segoe UI"/>
                <a:cs typeface="Segoe UI"/>
              </a:rPr>
              <a:t>состава</a:t>
            </a:r>
            <a:r>
              <a:rPr sz="1400" spc="-3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3A393C"/>
                </a:solidFill>
                <a:latin typeface="Segoe UI"/>
                <a:cs typeface="Segoe UI"/>
              </a:rPr>
              <a:t>агрегата</a:t>
            </a:r>
            <a:endParaRPr sz="1400">
              <a:latin typeface="Segoe UI"/>
              <a:cs typeface="Segoe U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250">
              <a:latin typeface="Segoe UI"/>
              <a:cs typeface="Segoe UI"/>
            </a:endParaRPr>
          </a:p>
          <a:p>
            <a:pPr marL="12700" marR="669290">
              <a:lnSpc>
                <a:spcPct val="100000"/>
              </a:lnSpc>
            </a:pP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Взаимодействие </a:t>
            </a:r>
            <a:r>
              <a:rPr sz="1400" b="1" dirty="0">
                <a:solidFill>
                  <a:srgbClr val="3A393C"/>
                </a:solidFill>
                <a:latin typeface="Segoe UI"/>
                <a:cs typeface="Segoe UI"/>
              </a:rPr>
              <a:t>со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службой </a:t>
            </a:r>
            <a:r>
              <a:rPr sz="1400" b="1" spc="-375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поддержки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036510" y="5941568"/>
            <a:ext cx="3484245" cy="356870"/>
          </a:xfrm>
          <a:custGeom>
            <a:avLst/>
            <a:gdLst/>
            <a:ahLst/>
            <a:cxnLst/>
            <a:rect l="l" t="t" r="r" b="b"/>
            <a:pathLst>
              <a:path w="3484245" h="356870">
                <a:moveTo>
                  <a:pt x="3401441" y="0"/>
                </a:moveTo>
                <a:lnTo>
                  <a:pt x="82423" y="0"/>
                </a:lnTo>
                <a:lnTo>
                  <a:pt x="50309" y="6473"/>
                </a:lnTo>
                <a:lnTo>
                  <a:pt x="24114" y="24128"/>
                </a:lnTo>
                <a:lnTo>
                  <a:pt x="6467" y="50315"/>
                </a:lnTo>
                <a:lnTo>
                  <a:pt x="0" y="82384"/>
                </a:lnTo>
                <a:lnTo>
                  <a:pt x="0" y="274231"/>
                </a:lnTo>
                <a:lnTo>
                  <a:pt x="6467" y="306300"/>
                </a:lnTo>
                <a:lnTo>
                  <a:pt x="24114" y="332487"/>
                </a:lnTo>
                <a:lnTo>
                  <a:pt x="50309" y="350142"/>
                </a:lnTo>
                <a:lnTo>
                  <a:pt x="82423" y="356615"/>
                </a:lnTo>
                <a:lnTo>
                  <a:pt x="3401441" y="356615"/>
                </a:lnTo>
                <a:lnTo>
                  <a:pt x="3433554" y="350142"/>
                </a:lnTo>
                <a:lnTo>
                  <a:pt x="3459749" y="332487"/>
                </a:lnTo>
                <a:lnTo>
                  <a:pt x="3477396" y="306300"/>
                </a:lnTo>
                <a:lnTo>
                  <a:pt x="3483864" y="274231"/>
                </a:lnTo>
                <a:lnTo>
                  <a:pt x="3483864" y="82384"/>
                </a:lnTo>
                <a:lnTo>
                  <a:pt x="3477396" y="50315"/>
                </a:lnTo>
                <a:lnTo>
                  <a:pt x="3459749" y="24128"/>
                </a:lnTo>
                <a:lnTo>
                  <a:pt x="3433554" y="6473"/>
                </a:lnTo>
                <a:lnTo>
                  <a:pt x="340144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1139379" y="5995314"/>
            <a:ext cx="226631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Справочная</a:t>
            </a:r>
            <a:r>
              <a:rPr sz="1400" b="1" spc="-40" dirty="0">
                <a:solidFill>
                  <a:srgbClr val="3A393C"/>
                </a:solidFill>
                <a:latin typeface="Segoe UI"/>
                <a:cs typeface="Segoe UI"/>
              </a:rPr>
              <a:t> </a:t>
            </a:r>
            <a:r>
              <a:rPr sz="1400" b="1" spc="-5" dirty="0">
                <a:solidFill>
                  <a:srgbClr val="3A393C"/>
                </a:solidFill>
                <a:latin typeface="Segoe UI"/>
                <a:cs typeface="Segoe UI"/>
              </a:rPr>
              <a:t>информация</a:t>
            </a:r>
            <a:endParaRPr sz="1400">
              <a:latin typeface="Segoe UI"/>
              <a:cs typeface="Segoe UI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4645723" y="-85852"/>
            <a:ext cx="5346700" cy="6384290"/>
            <a:chOff x="6845807" y="0"/>
            <a:chExt cx="5346700" cy="6384290"/>
          </a:xfrm>
        </p:grpSpPr>
        <p:pic>
          <p:nvPicPr>
            <p:cNvPr id="15" name="object 1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869935" y="3107435"/>
              <a:ext cx="4322064" cy="3025140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641079" y="2369820"/>
              <a:ext cx="3550920" cy="2234184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554467" y="0"/>
              <a:ext cx="4637532" cy="3555491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011667" y="2380488"/>
              <a:ext cx="1795272" cy="3886200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845807" y="2180844"/>
              <a:ext cx="4203192" cy="4203192"/>
            </a:xfrm>
            <a:prstGeom prst="rect">
              <a:avLst/>
            </a:prstGeom>
          </p:spPr>
        </p:pic>
      </p:grpSp>
      <p:sp>
        <p:nvSpPr>
          <p:cNvPr id="20" name="object 2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95"/>
              </a:spcBef>
            </a:pPr>
            <a:fld id="{81D60167-4931-47E6-BA6A-407CBD079E47}" type="slidenum">
              <a:rPr dirty="0"/>
              <a:t>11</a:t>
            </a:fld>
            <a:endParaRPr dirty="0"/>
          </a:p>
        </p:txBody>
      </p:sp>
      <p:sp>
        <p:nvSpPr>
          <p:cNvPr id="24" name="Скругленный прямоугольник 29">
            <a:extLst>
              <a:ext uri="{FF2B5EF4-FFF2-40B4-BE49-F238E27FC236}">
                <a16:creationId xmlns:a16="http://schemas.microsoft.com/office/drawing/2014/main" xmlns="" id="{2FD35EF1-B389-471C-A43E-23CCFBBF97A8}"/>
              </a:ext>
            </a:extLst>
          </p:cNvPr>
          <p:cNvSpPr/>
          <p:nvPr/>
        </p:nvSpPr>
        <p:spPr>
          <a:xfrm>
            <a:off x="-1" y="377349"/>
            <a:ext cx="11953875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бильное приложение «Честный </a:t>
            </a:r>
            <a:r>
              <a:rPr lang="ru-RU" sz="2600" b="1" dirty="0" err="1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НАК.Бизнес</a:t>
            </a:r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754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38" name="Picture 14">
            <a:extLst>
              <a:ext uri="{FF2B5EF4-FFF2-40B4-BE49-F238E27FC236}">
                <a16:creationId xmlns:a16="http://schemas.microsoft.com/office/drawing/2014/main" xmlns="" id="{8F203807-A5A4-41D4-A2F7-8664B8F8C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3704" y="1541721"/>
            <a:ext cx="7564591" cy="4901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EF5F5186-8F68-44D2-AB05-9BACF15EF63B}"/>
              </a:ext>
            </a:extLst>
          </p:cNvPr>
          <p:cNvSpPr txBox="1"/>
          <p:nvPr/>
        </p:nvSpPr>
        <p:spPr>
          <a:xfrm>
            <a:off x="1205024" y="239112"/>
            <a:ext cx="978195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 системы маркировки </a:t>
            </a:r>
            <a:r>
              <a:rPr lang="en-US" sz="2800" b="1" u="sng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</a:t>
            </a:r>
            <a:r>
              <a:rPr lang="ru-RU" sz="2800" b="1" u="sng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en-US" sz="2800" b="1" u="sng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A2FB333E-A9EA-4935-B10A-A7362439DC15}"/>
              </a:ext>
            </a:extLst>
          </p:cNvPr>
          <p:cNvSpPr txBox="1"/>
          <p:nvPr/>
        </p:nvSpPr>
        <p:spPr>
          <a:xfrm>
            <a:off x="524333" y="2298442"/>
            <a:ext cx="205242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Инструкции и документация по работе в системе маркировки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D0A383A6-B099-429A-8E09-0218730051A7}"/>
              </a:ext>
            </a:extLst>
          </p:cNvPr>
          <p:cNvSpPr txBox="1"/>
          <p:nvPr/>
        </p:nvSpPr>
        <p:spPr>
          <a:xfrm>
            <a:off x="9483710" y="2706966"/>
            <a:ext cx="20524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Калькулятор технических решений</a:t>
            </a:r>
          </a:p>
        </p:txBody>
      </p:sp>
      <p:pic>
        <p:nvPicPr>
          <p:cNvPr id="37" name="Picture 56">
            <a:extLst>
              <a:ext uri="{FF2B5EF4-FFF2-40B4-BE49-F238E27FC236}">
                <a16:creationId xmlns:a16="http://schemas.microsoft.com/office/drawing/2014/main" xmlns="" id="{1AEA8E0F-66F9-4CCA-A070-A76DD024B0B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07113" y="1755371"/>
            <a:ext cx="954107" cy="954107"/>
          </a:xfrm>
          <a:prstGeom prst="rect">
            <a:avLst/>
          </a:prstGeom>
        </p:spPr>
      </p:pic>
      <p:pic>
        <p:nvPicPr>
          <p:cNvPr id="39" name="Picture 29">
            <a:extLst>
              <a:ext uri="{FF2B5EF4-FFF2-40B4-BE49-F238E27FC236}">
                <a16:creationId xmlns:a16="http://schemas.microsoft.com/office/drawing/2014/main" xmlns="" id="{D4B998C4-4628-423E-8650-DB4D9324F6F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082" y="1332158"/>
            <a:ext cx="953235" cy="953235"/>
          </a:xfrm>
          <a:prstGeom prst="rect">
            <a:avLst/>
          </a:prstGeom>
        </p:spPr>
      </p:pic>
      <p:pic>
        <p:nvPicPr>
          <p:cNvPr id="40" name="Picture 62">
            <a:extLst>
              <a:ext uri="{FF2B5EF4-FFF2-40B4-BE49-F238E27FC236}">
                <a16:creationId xmlns:a16="http://schemas.microsoft.com/office/drawing/2014/main" xmlns="" id="{49732226-C609-4E7F-AF09-53EAF3BBE5F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11216" y="1332157"/>
            <a:ext cx="953235" cy="953235"/>
          </a:xfrm>
          <a:prstGeom prst="rect">
            <a:avLst/>
          </a:prstGeom>
        </p:spPr>
      </p:pic>
      <p:pic>
        <p:nvPicPr>
          <p:cNvPr id="41" name="Picture 45">
            <a:extLst>
              <a:ext uri="{FF2B5EF4-FFF2-40B4-BE49-F238E27FC236}">
                <a16:creationId xmlns:a16="http://schemas.microsoft.com/office/drawing/2014/main" xmlns="" id="{92052346-373C-48E3-ABAA-1472DBD63E1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99937" y="1753731"/>
            <a:ext cx="954108" cy="95410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3B8B1AF6-D183-41E3-B8A1-A607E3CCD46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-1" r="2446" b="3268"/>
          <a:stretch/>
        </p:blipFill>
        <p:spPr>
          <a:xfrm>
            <a:off x="3501051" y="1848010"/>
            <a:ext cx="5179399" cy="2925863"/>
          </a:xfrm>
          <a:prstGeom prst="rect">
            <a:avLst/>
          </a:prstGeom>
        </p:spPr>
      </p:pic>
      <p:cxnSp>
        <p:nvCxnSpPr>
          <p:cNvPr id="27" name="Соединитель: уступ 26">
            <a:extLst>
              <a:ext uri="{FF2B5EF4-FFF2-40B4-BE49-F238E27FC236}">
                <a16:creationId xmlns:a16="http://schemas.microsoft.com/office/drawing/2014/main" xmlns="" id="{2D6C6C0C-4783-4C1C-BBE3-5B751967D50E}"/>
              </a:ext>
            </a:extLst>
          </p:cNvPr>
          <p:cNvCxnSpPr>
            <a:cxnSpLocks/>
          </p:cNvCxnSpPr>
          <p:nvPr/>
        </p:nvCxnSpPr>
        <p:spPr>
          <a:xfrm flipV="1">
            <a:off x="6667500" y="3561907"/>
            <a:ext cx="3842422" cy="838632"/>
          </a:xfrm>
          <a:prstGeom prst="bentConnector3">
            <a:avLst>
              <a:gd name="adj1" fmla="val 100074"/>
            </a:avLst>
          </a:prstGeom>
          <a:ln>
            <a:prstDash val="dash"/>
            <a:headEnd type="oval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Соединитель: уступ 16">
            <a:extLst>
              <a:ext uri="{FF2B5EF4-FFF2-40B4-BE49-F238E27FC236}">
                <a16:creationId xmlns:a16="http://schemas.microsoft.com/office/drawing/2014/main" xmlns="" id="{D8134776-B39A-4368-9E48-DF37E885BA52}"/>
              </a:ext>
            </a:extLst>
          </p:cNvPr>
          <p:cNvCxnSpPr>
            <a:cxnSpLocks/>
          </p:cNvCxnSpPr>
          <p:nvPr/>
        </p:nvCxnSpPr>
        <p:spPr>
          <a:xfrm rot="10800000">
            <a:off x="1553917" y="3375660"/>
            <a:ext cx="2162203" cy="1158240"/>
          </a:xfrm>
          <a:prstGeom prst="bentConnector3">
            <a:avLst>
              <a:gd name="adj1" fmla="val 99926"/>
            </a:avLst>
          </a:prstGeom>
          <a:ln>
            <a:prstDash val="dash"/>
            <a:headEnd type="oval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5148596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6FB0A5B0-9B6A-AA41-AEB8-D92A624A9F96}"/>
              </a:ext>
            </a:extLst>
          </p:cNvPr>
          <p:cNvSpPr txBox="1"/>
          <p:nvPr/>
        </p:nvSpPr>
        <p:spPr>
          <a:xfrm>
            <a:off x="7071616" y="4851708"/>
            <a:ext cx="460001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улярные обучающие вебинары на сайте </a:t>
            </a:r>
          </a:p>
          <a:p>
            <a:r>
              <a:rPr lang="ru-RU" sz="1400" b="1" u="sng" dirty="0" err="1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400" b="1" u="sng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дел мероприятия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расписания вебинаров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иси мероприятий в разделе мероприятия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идеоархив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0ABC16AD-5571-8247-9958-6DBEA1092F1A}"/>
              </a:ext>
            </a:extLst>
          </p:cNvPr>
          <p:cNvSpPr txBox="1"/>
          <p:nvPr/>
        </p:nvSpPr>
        <p:spPr>
          <a:xfrm>
            <a:off x="7071616" y="2118049"/>
            <a:ext cx="47305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новости маркировки в режиме реального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ремени в канале телеграмм</a:t>
            </a:r>
          </a:p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t.me/crptbreaking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ADF7CC8A-CA17-DF42-8C37-A594269EE51F}"/>
              </a:ext>
            </a:extLst>
          </p:cNvPr>
          <p:cNvSpPr txBox="1"/>
          <p:nvPr/>
        </p:nvSpPr>
        <p:spPr>
          <a:xfrm>
            <a:off x="7057478" y="3107575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ео-инструкции и опыт участников</a:t>
            </a:r>
          </a:p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анале </a:t>
            </a:r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ouTube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ЧестныйЗНАК</a:t>
            </a:r>
            <a:endParaRPr lang="ru-RU" sz="11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E291CFBB-3D1A-E942-B4F2-1E8028C3B148}"/>
              </a:ext>
            </a:extLst>
          </p:cNvPr>
          <p:cNvSpPr txBox="1"/>
          <p:nvPr/>
        </p:nvSpPr>
        <p:spPr>
          <a:xfrm>
            <a:off x="1629445" y="3107575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(800) 222-15-2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6C66992E-4DFD-C042-A069-209911403CB5}"/>
              </a:ext>
            </a:extLst>
          </p:cNvPr>
          <p:cNvSpPr txBox="1"/>
          <p:nvPr/>
        </p:nvSpPr>
        <p:spPr>
          <a:xfrm>
            <a:off x="1629445" y="2225771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написать нам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почте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upport@crpt.ru</a:t>
            </a:r>
            <a:endParaRPr lang="ru-RU" sz="14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8D046A59-47DF-BD49-9B21-7FAA3B39E432}"/>
              </a:ext>
            </a:extLst>
          </p:cNvPr>
          <p:cNvSpPr txBox="1"/>
          <p:nvPr/>
        </p:nvSpPr>
        <p:spPr>
          <a:xfrm>
            <a:off x="1637160" y="5785383"/>
            <a:ext cx="460001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vk.com/crptec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endParaRPr lang="ru-RU" sz="11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497255E8-CA71-B441-9754-546063E74BEF}"/>
              </a:ext>
            </a:extLst>
          </p:cNvPr>
          <p:cNvSpPr txBox="1"/>
          <p:nvPr/>
        </p:nvSpPr>
        <p:spPr>
          <a:xfrm>
            <a:off x="579227" y="4078296"/>
            <a:ext cx="4668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узнать самые горячие новости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задать вопросы в наших </a:t>
            </a:r>
            <a:r>
              <a:rPr lang="ru-RU" sz="1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ц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альных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тях</a:t>
            </a:r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A73D5C47-40BE-A843-A255-D34C83C913A8}"/>
              </a:ext>
            </a:extLst>
          </p:cNvPr>
          <p:cNvSpPr txBox="1"/>
          <p:nvPr/>
        </p:nvSpPr>
        <p:spPr>
          <a:xfrm>
            <a:off x="1637160" y="4942227"/>
            <a:ext cx="4600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facebook.com/crpt.ru/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fi-FI" sz="14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Скругленный прямоугольник 58">
            <a:extLst>
              <a:ext uri="{FF2B5EF4-FFF2-40B4-BE49-F238E27FC236}">
                <a16:creationId xmlns:a16="http://schemas.microsoft.com/office/drawing/2014/main" xmlns="" id="{CD298B0D-DD0D-B240-96AB-1EBF85CB4E3C}"/>
              </a:ext>
            </a:extLst>
          </p:cNvPr>
          <p:cNvSpPr/>
          <p:nvPr/>
        </p:nvSpPr>
        <p:spPr>
          <a:xfrm>
            <a:off x="675039" y="430171"/>
            <a:ext cx="9171605" cy="115249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на связи всегда: прямая связь с экспертами, ответы на вопросы онлайн</a:t>
            </a:r>
          </a:p>
        </p:txBody>
      </p:sp>
      <p:pic>
        <p:nvPicPr>
          <p:cNvPr id="52" name="Picture 44">
            <a:extLst>
              <a:ext uri="{FF2B5EF4-FFF2-40B4-BE49-F238E27FC236}">
                <a16:creationId xmlns:a16="http://schemas.microsoft.com/office/drawing/2014/main" xmlns="" id="{6D554563-0837-894E-AA72-4D69BFCF1E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3018659"/>
            <a:ext cx="720000" cy="701053"/>
          </a:xfrm>
          <a:prstGeom prst="rect">
            <a:avLst/>
          </a:prstGeom>
        </p:spPr>
      </p:pic>
      <p:pic>
        <p:nvPicPr>
          <p:cNvPr id="53" name="Picture 45">
            <a:extLst>
              <a:ext uri="{FF2B5EF4-FFF2-40B4-BE49-F238E27FC236}">
                <a16:creationId xmlns:a16="http://schemas.microsoft.com/office/drawing/2014/main" xmlns="" id="{81D42D2A-FA0A-214A-B01F-8C682B8BDB9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2136855"/>
            <a:ext cx="720000" cy="701053"/>
          </a:xfrm>
          <a:prstGeom prst="rect">
            <a:avLst/>
          </a:prstGeom>
        </p:spPr>
      </p:pic>
      <p:pic>
        <p:nvPicPr>
          <p:cNvPr id="54" name="Picture 46">
            <a:extLst>
              <a:ext uri="{FF2B5EF4-FFF2-40B4-BE49-F238E27FC236}">
                <a16:creationId xmlns:a16="http://schemas.microsoft.com/office/drawing/2014/main" xmlns="" id="{38CBD917-188D-BD42-A78D-15219CD5B5B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876" y="3018658"/>
            <a:ext cx="720000" cy="701053"/>
          </a:xfrm>
          <a:prstGeom prst="rect">
            <a:avLst/>
          </a:prstGeom>
        </p:spPr>
      </p:pic>
      <p:pic>
        <p:nvPicPr>
          <p:cNvPr id="55" name="Picture 47">
            <a:extLst>
              <a:ext uri="{FF2B5EF4-FFF2-40B4-BE49-F238E27FC236}">
                <a16:creationId xmlns:a16="http://schemas.microsoft.com/office/drawing/2014/main" xmlns="" id="{B058E385-77F6-4A47-838B-D14BD49BF86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4876" y="2136855"/>
            <a:ext cx="720000" cy="701053"/>
          </a:xfrm>
          <a:prstGeom prst="rect">
            <a:avLst/>
          </a:prstGeom>
        </p:spPr>
      </p:pic>
      <p:pic>
        <p:nvPicPr>
          <p:cNvPr id="56" name="Picture 48">
            <a:extLst>
              <a:ext uri="{FF2B5EF4-FFF2-40B4-BE49-F238E27FC236}">
                <a16:creationId xmlns:a16="http://schemas.microsoft.com/office/drawing/2014/main" xmlns="" id="{4B22654D-FFEA-7048-8A1F-063D44C70F5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039" y="4757721"/>
            <a:ext cx="720000" cy="701053"/>
          </a:xfrm>
          <a:prstGeom prst="rect">
            <a:avLst/>
          </a:prstGeom>
        </p:spPr>
      </p:pic>
      <p:pic>
        <p:nvPicPr>
          <p:cNvPr id="73" name="Picture 49">
            <a:extLst>
              <a:ext uri="{FF2B5EF4-FFF2-40B4-BE49-F238E27FC236}">
                <a16:creationId xmlns:a16="http://schemas.microsoft.com/office/drawing/2014/main" xmlns="" id="{A2E6CF71-401F-9146-9572-E2D52103ECD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86" y="5614979"/>
            <a:ext cx="720000" cy="701053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xmlns="" id="{F1FA1761-F113-D64A-BCCD-21357CCA2AA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15034" y="4774706"/>
            <a:ext cx="778374" cy="156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65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592274" y="0"/>
              <a:ext cx="8599723" cy="6857998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6096000" cy="6858000"/>
            </a:xfrm>
            <a:custGeom>
              <a:avLst/>
              <a:gdLst/>
              <a:ahLst/>
              <a:cxnLst/>
              <a:rect l="l" t="t" r="r" b="b"/>
              <a:pathLst>
                <a:path w="6096000" h="6858000">
                  <a:moveTo>
                    <a:pt x="6096000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6096000" y="6858000"/>
                  </a:lnTo>
                  <a:lnTo>
                    <a:pt x="6096000" y="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813416" y="1240028"/>
            <a:ext cx="2406650" cy="7600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" dirty="0">
                <a:solidFill>
                  <a:srgbClr val="FFFFFF"/>
                </a:solidFill>
              </a:rPr>
              <a:t>СПАСИБО</a:t>
            </a:r>
          </a:p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spc="-5" dirty="0">
                <a:solidFill>
                  <a:srgbClr val="FFFFFF"/>
                </a:solidFill>
              </a:rPr>
              <a:t>ЗА</a:t>
            </a:r>
            <a:r>
              <a:rPr spc="-65" dirty="0">
                <a:solidFill>
                  <a:srgbClr val="FFFFFF"/>
                </a:solidFill>
              </a:rPr>
              <a:t> </a:t>
            </a:r>
            <a:r>
              <a:rPr spc="-5" dirty="0">
                <a:solidFill>
                  <a:srgbClr val="FFFFFF"/>
                </a:solidFill>
              </a:rPr>
              <a:t>ВНИМАНИЕ!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824967" y="2053534"/>
            <a:ext cx="3921125" cy="3695700"/>
            <a:chOff x="824967" y="2053534"/>
            <a:chExt cx="3921125" cy="3695700"/>
          </a:xfrm>
        </p:grpSpPr>
        <p:sp>
          <p:nvSpPr>
            <p:cNvPr id="7" name="object 7"/>
            <p:cNvSpPr/>
            <p:nvPr/>
          </p:nvSpPr>
          <p:spPr>
            <a:xfrm>
              <a:off x="836566" y="2074171"/>
              <a:ext cx="2367280" cy="0"/>
            </a:xfrm>
            <a:custGeom>
              <a:avLst/>
              <a:gdLst/>
              <a:ahLst/>
              <a:cxnLst/>
              <a:rect l="l" t="t" r="r" b="b"/>
              <a:pathLst>
                <a:path w="2367280">
                  <a:moveTo>
                    <a:pt x="2366655" y="0"/>
                  </a:moveTo>
                  <a:lnTo>
                    <a:pt x="0" y="1"/>
                  </a:lnTo>
                </a:path>
              </a:pathLst>
            </a:custGeom>
            <a:ln w="41275">
              <a:solidFill>
                <a:srgbClr val="EAEA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4967" y="5015463"/>
              <a:ext cx="3920995" cy="733562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7999"/>
                </a:lnTo>
                <a:lnTo>
                  <a:pt x="12192000" y="6857999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1544234" y="3701622"/>
            <a:ext cx="8648065" cy="355600"/>
            <a:chOff x="1544234" y="3701622"/>
            <a:chExt cx="8648065" cy="355600"/>
          </a:xfrm>
        </p:grpSpPr>
        <p:sp>
          <p:nvSpPr>
            <p:cNvPr id="4" name="object 4"/>
            <p:cNvSpPr/>
            <p:nvPr/>
          </p:nvSpPr>
          <p:spPr>
            <a:xfrm>
              <a:off x="1899217" y="3879113"/>
              <a:ext cx="8280400" cy="0"/>
            </a:xfrm>
            <a:custGeom>
              <a:avLst/>
              <a:gdLst/>
              <a:ahLst/>
              <a:cxnLst/>
              <a:rect l="l" t="t" r="r" b="b"/>
              <a:pathLst>
                <a:path w="8280400">
                  <a:moveTo>
                    <a:pt x="0" y="0"/>
                  </a:moveTo>
                  <a:lnTo>
                    <a:pt x="8279846" y="1"/>
                  </a:lnTo>
                </a:path>
              </a:pathLst>
            </a:custGeom>
            <a:ln w="25400">
              <a:solidFill>
                <a:srgbClr val="6D6E7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544234" y="3701622"/>
              <a:ext cx="355600" cy="355600"/>
            </a:xfrm>
            <a:custGeom>
              <a:avLst/>
              <a:gdLst/>
              <a:ahLst/>
              <a:cxnLst/>
              <a:rect l="l" t="t" r="r" b="b"/>
              <a:pathLst>
                <a:path w="355600" h="355600">
                  <a:moveTo>
                    <a:pt x="177491" y="0"/>
                  </a:moveTo>
                  <a:lnTo>
                    <a:pt x="130306" y="6340"/>
                  </a:lnTo>
                  <a:lnTo>
                    <a:pt x="87907" y="24232"/>
                  </a:lnTo>
                  <a:lnTo>
                    <a:pt x="51985" y="51985"/>
                  </a:lnTo>
                  <a:lnTo>
                    <a:pt x="24232" y="87907"/>
                  </a:lnTo>
                  <a:lnTo>
                    <a:pt x="6340" y="130306"/>
                  </a:lnTo>
                  <a:lnTo>
                    <a:pt x="0" y="177491"/>
                  </a:lnTo>
                  <a:lnTo>
                    <a:pt x="6340" y="224675"/>
                  </a:lnTo>
                  <a:lnTo>
                    <a:pt x="24232" y="267074"/>
                  </a:lnTo>
                  <a:lnTo>
                    <a:pt x="51985" y="302996"/>
                  </a:lnTo>
                  <a:lnTo>
                    <a:pt x="87907" y="330750"/>
                  </a:lnTo>
                  <a:lnTo>
                    <a:pt x="130306" y="348642"/>
                  </a:lnTo>
                  <a:lnTo>
                    <a:pt x="177491" y="354982"/>
                  </a:lnTo>
                  <a:lnTo>
                    <a:pt x="224675" y="348642"/>
                  </a:lnTo>
                  <a:lnTo>
                    <a:pt x="267074" y="330750"/>
                  </a:lnTo>
                  <a:lnTo>
                    <a:pt x="302996" y="302996"/>
                  </a:lnTo>
                  <a:lnTo>
                    <a:pt x="330750" y="267074"/>
                  </a:lnTo>
                  <a:lnTo>
                    <a:pt x="348642" y="224675"/>
                  </a:lnTo>
                  <a:lnTo>
                    <a:pt x="354982" y="177491"/>
                  </a:lnTo>
                  <a:lnTo>
                    <a:pt x="348642" y="130306"/>
                  </a:lnTo>
                  <a:lnTo>
                    <a:pt x="330750" y="87907"/>
                  </a:lnTo>
                  <a:lnTo>
                    <a:pt x="302996" y="51985"/>
                  </a:lnTo>
                  <a:lnTo>
                    <a:pt x="267074" y="24232"/>
                  </a:lnTo>
                  <a:lnTo>
                    <a:pt x="224675" y="6340"/>
                  </a:lnTo>
                  <a:lnTo>
                    <a:pt x="177491" y="0"/>
                  </a:lnTo>
                  <a:close/>
                </a:path>
              </a:pathLst>
            </a:custGeom>
            <a:solidFill>
              <a:srgbClr val="6D6E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1665370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1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018758" y="3701622"/>
            <a:ext cx="355600" cy="355600"/>
          </a:xfrm>
          <a:custGeom>
            <a:avLst/>
            <a:gdLst/>
            <a:ahLst/>
            <a:cxnLst/>
            <a:rect l="l" t="t" r="r" b="b"/>
            <a:pathLst>
              <a:path w="355600" h="355600">
                <a:moveTo>
                  <a:pt x="177491" y="0"/>
                </a:moveTo>
                <a:lnTo>
                  <a:pt x="130307" y="6340"/>
                </a:lnTo>
                <a:lnTo>
                  <a:pt x="87908" y="24232"/>
                </a:lnTo>
                <a:lnTo>
                  <a:pt x="51986" y="51985"/>
                </a:lnTo>
                <a:lnTo>
                  <a:pt x="24232" y="87907"/>
                </a:lnTo>
                <a:lnTo>
                  <a:pt x="6340" y="130306"/>
                </a:lnTo>
                <a:lnTo>
                  <a:pt x="0" y="177491"/>
                </a:lnTo>
                <a:lnTo>
                  <a:pt x="6340" y="224675"/>
                </a:lnTo>
                <a:lnTo>
                  <a:pt x="24232" y="267074"/>
                </a:lnTo>
                <a:lnTo>
                  <a:pt x="51986" y="302996"/>
                </a:lnTo>
                <a:lnTo>
                  <a:pt x="87908" y="330750"/>
                </a:lnTo>
                <a:lnTo>
                  <a:pt x="130307" y="348642"/>
                </a:lnTo>
                <a:lnTo>
                  <a:pt x="177491" y="354982"/>
                </a:lnTo>
                <a:lnTo>
                  <a:pt x="224675" y="348642"/>
                </a:lnTo>
                <a:lnTo>
                  <a:pt x="267074" y="330750"/>
                </a:lnTo>
                <a:lnTo>
                  <a:pt x="302996" y="302996"/>
                </a:lnTo>
                <a:lnTo>
                  <a:pt x="330750" y="267074"/>
                </a:lnTo>
                <a:lnTo>
                  <a:pt x="348642" y="224675"/>
                </a:lnTo>
                <a:lnTo>
                  <a:pt x="354982" y="177491"/>
                </a:lnTo>
                <a:lnTo>
                  <a:pt x="348642" y="130306"/>
                </a:lnTo>
                <a:lnTo>
                  <a:pt x="330750" y="87907"/>
                </a:lnTo>
                <a:lnTo>
                  <a:pt x="302996" y="51985"/>
                </a:lnTo>
                <a:lnTo>
                  <a:pt x="267074" y="24232"/>
                </a:lnTo>
                <a:lnTo>
                  <a:pt x="224675" y="6340"/>
                </a:lnTo>
                <a:lnTo>
                  <a:pt x="177491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8139893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4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704540" y="3701622"/>
            <a:ext cx="355600" cy="355600"/>
          </a:xfrm>
          <a:custGeom>
            <a:avLst/>
            <a:gdLst/>
            <a:ahLst/>
            <a:cxnLst/>
            <a:rect l="l" t="t" r="r" b="b"/>
            <a:pathLst>
              <a:path w="355600" h="355600">
                <a:moveTo>
                  <a:pt x="177491" y="0"/>
                </a:moveTo>
                <a:lnTo>
                  <a:pt x="130306" y="6340"/>
                </a:lnTo>
                <a:lnTo>
                  <a:pt x="87907" y="24232"/>
                </a:lnTo>
                <a:lnTo>
                  <a:pt x="51985" y="51985"/>
                </a:lnTo>
                <a:lnTo>
                  <a:pt x="24232" y="87907"/>
                </a:lnTo>
                <a:lnTo>
                  <a:pt x="6340" y="130306"/>
                </a:lnTo>
                <a:lnTo>
                  <a:pt x="0" y="177491"/>
                </a:lnTo>
                <a:lnTo>
                  <a:pt x="6340" y="224675"/>
                </a:lnTo>
                <a:lnTo>
                  <a:pt x="24232" y="267074"/>
                </a:lnTo>
                <a:lnTo>
                  <a:pt x="51985" y="302996"/>
                </a:lnTo>
                <a:lnTo>
                  <a:pt x="87907" y="330750"/>
                </a:lnTo>
                <a:lnTo>
                  <a:pt x="130306" y="348642"/>
                </a:lnTo>
                <a:lnTo>
                  <a:pt x="177491" y="354982"/>
                </a:lnTo>
                <a:lnTo>
                  <a:pt x="224675" y="348642"/>
                </a:lnTo>
                <a:lnTo>
                  <a:pt x="267074" y="330750"/>
                </a:lnTo>
                <a:lnTo>
                  <a:pt x="302996" y="302996"/>
                </a:lnTo>
                <a:lnTo>
                  <a:pt x="330749" y="267074"/>
                </a:lnTo>
                <a:lnTo>
                  <a:pt x="348642" y="224675"/>
                </a:lnTo>
                <a:lnTo>
                  <a:pt x="354982" y="177491"/>
                </a:lnTo>
                <a:lnTo>
                  <a:pt x="348642" y="130306"/>
                </a:lnTo>
                <a:lnTo>
                  <a:pt x="330749" y="87907"/>
                </a:lnTo>
                <a:lnTo>
                  <a:pt x="302996" y="51985"/>
                </a:lnTo>
                <a:lnTo>
                  <a:pt x="267074" y="24232"/>
                </a:lnTo>
                <a:lnTo>
                  <a:pt x="224675" y="6340"/>
                </a:lnTo>
                <a:lnTo>
                  <a:pt x="177491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3825674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2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861648" y="3701622"/>
            <a:ext cx="355600" cy="355600"/>
          </a:xfrm>
          <a:custGeom>
            <a:avLst/>
            <a:gdLst/>
            <a:ahLst/>
            <a:cxnLst/>
            <a:rect l="l" t="t" r="r" b="b"/>
            <a:pathLst>
              <a:path w="355600" h="355600">
                <a:moveTo>
                  <a:pt x="177492" y="0"/>
                </a:moveTo>
                <a:lnTo>
                  <a:pt x="130308" y="6340"/>
                </a:lnTo>
                <a:lnTo>
                  <a:pt x="87908" y="24232"/>
                </a:lnTo>
                <a:lnTo>
                  <a:pt x="51986" y="51985"/>
                </a:lnTo>
                <a:lnTo>
                  <a:pt x="24233" y="87907"/>
                </a:lnTo>
                <a:lnTo>
                  <a:pt x="6340" y="130306"/>
                </a:lnTo>
                <a:lnTo>
                  <a:pt x="0" y="177491"/>
                </a:lnTo>
                <a:lnTo>
                  <a:pt x="6340" y="224675"/>
                </a:lnTo>
                <a:lnTo>
                  <a:pt x="24233" y="267074"/>
                </a:lnTo>
                <a:lnTo>
                  <a:pt x="51986" y="302996"/>
                </a:lnTo>
                <a:lnTo>
                  <a:pt x="87908" y="330750"/>
                </a:lnTo>
                <a:lnTo>
                  <a:pt x="130308" y="348642"/>
                </a:lnTo>
                <a:lnTo>
                  <a:pt x="177492" y="354982"/>
                </a:lnTo>
                <a:lnTo>
                  <a:pt x="224676" y="348642"/>
                </a:lnTo>
                <a:lnTo>
                  <a:pt x="267075" y="330750"/>
                </a:lnTo>
                <a:lnTo>
                  <a:pt x="302997" y="302996"/>
                </a:lnTo>
                <a:lnTo>
                  <a:pt x="330751" y="267074"/>
                </a:lnTo>
                <a:lnTo>
                  <a:pt x="348643" y="224675"/>
                </a:lnTo>
                <a:lnTo>
                  <a:pt x="354984" y="177491"/>
                </a:lnTo>
                <a:lnTo>
                  <a:pt x="348643" y="130306"/>
                </a:lnTo>
                <a:lnTo>
                  <a:pt x="330751" y="87907"/>
                </a:lnTo>
                <a:lnTo>
                  <a:pt x="302997" y="51985"/>
                </a:lnTo>
                <a:lnTo>
                  <a:pt x="267075" y="24232"/>
                </a:lnTo>
                <a:lnTo>
                  <a:pt x="224676" y="6340"/>
                </a:lnTo>
                <a:lnTo>
                  <a:pt x="177492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5982784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3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0179063" y="3701622"/>
            <a:ext cx="355600" cy="355600"/>
          </a:xfrm>
          <a:custGeom>
            <a:avLst/>
            <a:gdLst/>
            <a:ahLst/>
            <a:cxnLst/>
            <a:rect l="l" t="t" r="r" b="b"/>
            <a:pathLst>
              <a:path w="355600" h="355600">
                <a:moveTo>
                  <a:pt x="177491" y="0"/>
                </a:moveTo>
                <a:lnTo>
                  <a:pt x="130306" y="6340"/>
                </a:lnTo>
                <a:lnTo>
                  <a:pt x="87907" y="24232"/>
                </a:lnTo>
                <a:lnTo>
                  <a:pt x="51985" y="51985"/>
                </a:lnTo>
                <a:lnTo>
                  <a:pt x="24232" y="87907"/>
                </a:lnTo>
                <a:lnTo>
                  <a:pt x="6340" y="130306"/>
                </a:lnTo>
                <a:lnTo>
                  <a:pt x="0" y="177491"/>
                </a:lnTo>
                <a:lnTo>
                  <a:pt x="6340" y="224675"/>
                </a:lnTo>
                <a:lnTo>
                  <a:pt x="24232" y="267074"/>
                </a:lnTo>
                <a:lnTo>
                  <a:pt x="51985" y="302996"/>
                </a:lnTo>
                <a:lnTo>
                  <a:pt x="87907" y="330750"/>
                </a:lnTo>
                <a:lnTo>
                  <a:pt x="130306" y="348642"/>
                </a:lnTo>
                <a:lnTo>
                  <a:pt x="177491" y="354982"/>
                </a:lnTo>
                <a:lnTo>
                  <a:pt x="224675" y="348642"/>
                </a:lnTo>
                <a:lnTo>
                  <a:pt x="267074" y="330750"/>
                </a:lnTo>
                <a:lnTo>
                  <a:pt x="302996" y="302996"/>
                </a:lnTo>
                <a:lnTo>
                  <a:pt x="330750" y="267074"/>
                </a:lnTo>
                <a:lnTo>
                  <a:pt x="348642" y="224675"/>
                </a:lnTo>
                <a:lnTo>
                  <a:pt x="354982" y="177491"/>
                </a:lnTo>
                <a:lnTo>
                  <a:pt x="348642" y="130306"/>
                </a:lnTo>
                <a:lnTo>
                  <a:pt x="330750" y="87907"/>
                </a:lnTo>
                <a:lnTo>
                  <a:pt x="302996" y="51985"/>
                </a:lnTo>
                <a:lnTo>
                  <a:pt x="267074" y="24232"/>
                </a:lnTo>
                <a:lnTo>
                  <a:pt x="224675" y="6340"/>
                </a:lnTo>
                <a:lnTo>
                  <a:pt x="177491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10300199" y="3775964"/>
            <a:ext cx="11366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Segoe UI"/>
                <a:cs typeface="Segoe UI"/>
              </a:rPr>
              <a:t>5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67671" y="4342892"/>
            <a:ext cx="1714500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ф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м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ь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э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л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е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к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нн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у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ю 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подпись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(УКЭП)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установить ПО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для </a:t>
            </a:r>
            <a:r>
              <a:rPr sz="12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аботы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с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УКЭП.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Подходит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УКЭП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для </a:t>
            </a:r>
            <a:r>
              <a:rPr sz="1200" spc="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сдачи</a:t>
            </a:r>
            <a:r>
              <a:rPr sz="1200" spc="-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отчетности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359362" y="4342892"/>
            <a:ext cx="1986280" cy="1122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indent="1905" algn="ctr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роверить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чтение кодов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 сканером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h</a:t>
            </a:r>
            <a:r>
              <a:rPr sz="1200" u="sng" spc="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tt</a:t>
            </a:r>
            <a:r>
              <a:rPr sz="1200" u="sng" spc="-1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p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s: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//чест</a:t>
            </a:r>
            <a:r>
              <a:rPr sz="1200" u="sng" spc="-1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н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ы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йз</a:t>
            </a:r>
            <a:r>
              <a:rPr sz="1200" u="sng" spc="-1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н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а</a:t>
            </a:r>
            <a:r>
              <a:rPr sz="1200" u="sng" spc="5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к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.</a:t>
            </a:r>
            <a:r>
              <a:rPr sz="1200" u="sng" spc="-10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р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ф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/</a:t>
            </a:r>
            <a:r>
              <a:rPr sz="1200" u="sng" spc="-2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b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a</a:t>
            </a:r>
            <a:r>
              <a:rPr sz="1200" u="sng" spc="-2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rc </a:t>
            </a:r>
            <a:r>
              <a:rPr sz="1200" spc="-2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u="sng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ode/?category=9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,</a:t>
            </a:r>
            <a:endParaRPr sz="1200">
              <a:latin typeface="Segoe UI"/>
              <a:cs typeface="Segoe UI"/>
            </a:endParaRPr>
          </a:p>
          <a:p>
            <a:pPr marL="635" algn="ctr">
              <a:lnSpc>
                <a:spcPts val="1390"/>
              </a:lnSpc>
            </a:pP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при</a:t>
            </a:r>
            <a:r>
              <a:rPr sz="1200" spc="-4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необходимости</a:t>
            </a:r>
            <a:endParaRPr sz="1200">
              <a:latin typeface="Segoe UI"/>
              <a:cs typeface="Segoe UI"/>
            </a:endParaRPr>
          </a:p>
          <a:p>
            <a:pPr marL="2540" algn="ctr">
              <a:lnSpc>
                <a:spcPct val="100000"/>
              </a:lnSpc>
              <a:spcBef>
                <a:spcPts val="45"/>
              </a:spcBef>
            </a:pP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бновить</a:t>
            </a:r>
            <a:r>
              <a:rPr sz="1200" spc="-6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рошивку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323694" y="4342892"/>
            <a:ext cx="1745614" cy="93408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5080" indent="-635" algn="ctr">
              <a:lnSpc>
                <a:spcPct val="99200"/>
              </a:lnSpc>
              <a:spcBef>
                <a:spcPts val="110"/>
              </a:spcBef>
            </a:pP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Уточнить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у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поставщиков </a:t>
            </a:r>
            <a:r>
              <a:rPr sz="1200" spc="-3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решений,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требуется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ли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бновление</a:t>
            </a:r>
            <a:r>
              <a:rPr sz="12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кассового</a:t>
            </a:r>
            <a:r>
              <a:rPr sz="12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 </a:t>
            </a:r>
            <a:r>
              <a:rPr sz="1200" spc="-31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учетного</a:t>
            </a:r>
            <a:r>
              <a:rPr sz="1200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О</a:t>
            </a:r>
            <a:r>
              <a:rPr sz="1200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5" dirty="0">
                <a:solidFill>
                  <a:srgbClr val="6D6E71"/>
                </a:solidFill>
                <a:latin typeface="Segoe UI"/>
                <a:cs typeface="Segoe UI"/>
              </a:rPr>
              <a:t>для</a:t>
            </a:r>
            <a:r>
              <a:rPr sz="1200" spc="-3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аботы </a:t>
            </a:r>
            <a:r>
              <a:rPr sz="1200" spc="-3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spc="-4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молочной</a:t>
            </a:r>
            <a:r>
              <a:rPr sz="12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родукцией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245451" y="4342892"/>
            <a:ext cx="1588770" cy="75692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 algn="ctr">
              <a:lnSpc>
                <a:spcPct val="97500"/>
              </a:lnSpc>
              <a:spcBef>
                <a:spcPts val="135"/>
              </a:spcBef>
            </a:pP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Заключить</a:t>
            </a:r>
            <a:r>
              <a:rPr sz="1200" spc="-4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договора</a:t>
            </a:r>
            <a:r>
              <a:rPr sz="1200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с </a:t>
            </a:r>
            <a:r>
              <a:rPr sz="1200" spc="-3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5" dirty="0">
                <a:solidFill>
                  <a:srgbClr val="6D6E71"/>
                </a:solidFill>
                <a:latin typeface="Segoe UI"/>
                <a:cs typeface="Segoe UI"/>
              </a:rPr>
              <a:t>Оператором-ЦРПТ,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 оператором</a:t>
            </a:r>
            <a:r>
              <a:rPr sz="1200" spc="-2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ЭДО</a:t>
            </a:r>
            <a:endParaRPr sz="1200">
              <a:latin typeface="Segoe UI"/>
              <a:cs typeface="Segoe UI"/>
            </a:endParaRPr>
          </a:p>
          <a:p>
            <a:pPr algn="ctr">
              <a:lnSpc>
                <a:spcPct val="100000"/>
              </a:lnSpc>
              <a:spcBef>
                <a:spcPts val="70"/>
              </a:spcBef>
            </a:pP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200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оператором</a:t>
            </a:r>
            <a:r>
              <a:rPr sz="1200" spc="-3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ОФД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029381" y="4342892"/>
            <a:ext cx="1704339" cy="93408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48590" marR="140335" algn="ctr">
              <a:lnSpc>
                <a:spcPct val="97500"/>
              </a:lnSpc>
              <a:spcBef>
                <a:spcPts val="135"/>
              </a:spcBef>
            </a:pP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За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е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ги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spc="-10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р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и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ро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ва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т</a:t>
            </a:r>
            <a:r>
              <a:rPr sz="1200" spc="-15" dirty="0">
                <a:solidFill>
                  <a:srgbClr val="6D6E71"/>
                </a:solidFill>
                <a:latin typeface="Segoe UI"/>
                <a:cs typeface="Segoe UI"/>
              </a:rPr>
              <a:t>ь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с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я  в ЛК и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заполнить </a:t>
            </a:r>
            <a:r>
              <a:rPr sz="1200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6D6E71"/>
                </a:solidFill>
                <a:latin typeface="Segoe UI"/>
                <a:cs typeface="Segoe UI"/>
              </a:rPr>
              <a:t>профиль</a:t>
            </a:r>
            <a:endParaRPr sz="1200">
              <a:latin typeface="Segoe UI"/>
              <a:cs typeface="Segoe UI"/>
            </a:endParaRPr>
          </a:p>
          <a:p>
            <a:pPr marL="12700" marR="5080" algn="ctr">
              <a:lnSpc>
                <a:spcPts val="1390"/>
              </a:lnSpc>
              <a:spcBef>
                <a:spcPts val="160"/>
              </a:spcBef>
            </a:pP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https://честныйзнак.рф/ </a:t>
            </a:r>
            <a:r>
              <a:rPr sz="1200" spc="-315" dirty="0">
                <a:solidFill>
                  <a:srgbClr val="6D6E71"/>
                </a:solidFill>
                <a:latin typeface="Segoe UI"/>
                <a:cs typeface="Segoe UI"/>
              </a:rPr>
              <a:t> </a:t>
            </a:r>
            <a:r>
              <a:rPr sz="1200" u="sng" spc="-5" dirty="0">
                <a:solidFill>
                  <a:srgbClr val="6D6E71"/>
                </a:solidFill>
                <a:uFill>
                  <a:solidFill>
                    <a:srgbClr val="6D6E71"/>
                  </a:solidFill>
                </a:uFill>
                <a:latin typeface="Segoe UI"/>
                <a:cs typeface="Segoe UI"/>
              </a:rPr>
              <a:t>business</a:t>
            </a:r>
            <a:endParaRPr sz="1200">
              <a:latin typeface="Segoe UI"/>
              <a:cs typeface="Segoe UI"/>
            </a:endParaRPr>
          </a:p>
        </p:txBody>
      </p:sp>
      <p:pic>
        <p:nvPicPr>
          <p:cNvPr id="20" name="object 2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356748" y="2341589"/>
            <a:ext cx="1478502" cy="921599"/>
          </a:xfrm>
          <a:prstGeom prst="rect">
            <a:avLst/>
          </a:prstGeom>
        </p:spPr>
      </p:pic>
      <p:pic>
        <p:nvPicPr>
          <p:cNvPr id="21" name="object 2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467718" y="2215272"/>
            <a:ext cx="826461" cy="1174233"/>
          </a:xfrm>
          <a:prstGeom prst="rect">
            <a:avLst/>
          </a:prstGeom>
        </p:spPr>
      </p:pic>
      <p:pic>
        <p:nvPicPr>
          <p:cNvPr id="22" name="object 2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714476" y="2289317"/>
            <a:ext cx="1026144" cy="1026144"/>
          </a:xfrm>
          <a:prstGeom prst="rect">
            <a:avLst/>
          </a:prstGeom>
        </p:spPr>
      </p:pic>
      <p:pic>
        <p:nvPicPr>
          <p:cNvPr id="23" name="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629620" y="2175778"/>
            <a:ext cx="1253221" cy="1253221"/>
          </a:xfrm>
          <a:prstGeom prst="rect">
            <a:avLst/>
          </a:prstGeom>
        </p:spPr>
      </p:pic>
      <p:pic>
        <p:nvPicPr>
          <p:cNvPr id="24" name="object 2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43981" y="2341589"/>
            <a:ext cx="1439999" cy="921599"/>
          </a:xfrm>
          <a:prstGeom prst="rect">
            <a:avLst/>
          </a:prstGeom>
        </p:spPr>
      </p:pic>
      <p:sp>
        <p:nvSpPr>
          <p:cNvPr id="25" name="object 25"/>
          <p:cNvSpPr/>
          <p:nvPr/>
        </p:nvSpPr>
        <p:spPr>
          <a:xfrm>
            <a:off x="3892063" y="6062301"/>
            <a:ext cx="4246880" cy="531495"/>
          </a:xfrm>
          <a:custGeom>
            <a:avLst/>
            <a:gdLst/>
            <a:ahLst/>
            <a:cxnLst/>
            <a:rect l="l" t="t" r="r" b="b"/>
            <a:pathLst>
              <a:path w="4246880" h="531495">
                <a:moveTo>
                  <a:pt x="4157899" y="0"/>
                </a:moveTo>
                <a:lnTo>
                  <a:pt x="88507" y="0"/>
                </a:lnTo>
                <a:lnTo>
                  <a:pt x="54056" y="6955"/>
                </a:lnTo>
                <a:lnTo>
                  <a:pt x="25923" y="25923"/>
                </a:lnTo>
                <a:lnTo>
                  <a:pt x="6955" y="54057"/>
                </a:lnTo>
                <a:lnTo>
                  <a:pt x="0" y="88508"/>
                </a:lnTo>
                <a:lnTo>
                  <a:pt x="0" y="442540"/>
                </a:lnTo>
                <a:lnTo>
                  <a:pt x="6955" y="476991"/>
                </a:lnTo>
                <a:lnTo>
                  <a:pt x="25923" y="505125"/>
                </a:lnTo>
                <a:lnTo>
                  <a:pt x="54056" y="524093"/>
                </a:lnTo>
                <a:lnTo>
                  <a:pt x="88507" y="531048"/>
                </a:lnTo>
                <a:lnTo>
                  <a:pt x="4157899" y="531048"/>
                </a:lnTo>
                <a:lnTo>
                  <a:pt x="4192351" y="524093"/>
                </a:lnTo>
                <a:lnTo>
                  <a:pt x="4220485" y="505125"/>
                </a:lnTo>
                <a:lnTo>
                  <a:pt x="4239453" y="476991"/>
                </a:lnTo>
                <a:lnTo>
                  <a:pt x="4246408" y="442540"/>
                </a:lnTo>
                <a:lnTo>
                  <a:pt x="4246408" y="88508"/>
                </a:lnTo>
                <a:lnTo>
                  <a:pt x="4239453" y="54057"/>
                </a:lnTo>
                <a:lnTo>
                  <a:pt x="4220485" y="25923"/>
                </a:lnTo>
                <a:lnTo>
                  <a:pt x="4192351" y="6955"/>
                </a:lnTo>
                <a:lnTo>
                  <a:pt x="4157899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4152336" y="6211316"/>
            <a:ext cx="37249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Средняя</a:t>
            </a:r>
            <a:r>
              <a:rPr sz="1200" spc="-2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Segoe UI"/>
                <a:cs typeface="Segoe UI"/>
              </a:rPr>
              <a:t>стоимость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УКЭП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FFFFFF"/>
                </a:solidFill>
                <a:latin typeface="Segoe UI"/>
                <a:cs typeface="Segoe UI"/>
              </a:rPr>
              <a:t>и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dirty="0">
                <a:solidFill>
                  <a:srgbClr val="FFFFFF"/>
                </a:solidFill>
                <a:latin typeface="Segoe UI"/>
                <a:cs typeface="Segoe UI"/>
              </a:rPr>
              <a:t>2D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сканера:</a:t>
            </a:r>
            <a:r>
              <a:rPr sz="1200" spc="-1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7-10</a:t>
            </a:r>
            <a:r>
              <a:rPr sz="1200" spc="-1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Segoe UI"/>
                <a:cs typeface="Segoe UI"/>
              </a:rPr>
              <a:t>тыс.</a:t>
            </a:r>
            <a:r>
              <a:rPr sz="1200" spc="-1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Segoe UI"/>
                <a:cs typeface="Segoe UI"/>
              </a:rPr>
              <a:t>руб</a:t>
            </a:r>
            <a:endParaRPr sz="1200">
              <a:latin typeface="Segoe UI"/>
              <a:cs typeface="Segoe U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515999" y="364671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9"/>
                </a:lnTo>
                <a:lnTo>
                  <a:pt x="0" y="119998"/>
                </a:lnTo>
                <a:lnTo>
                  <a:pt x="0" y="600002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2"/>
                </a:lnTo>
                <a:lnTo>
                  <a:pt x="11159999" y="119998"/>
                </a:lnTo>
                <a:lnTo>
                  <a:pt x="11150569" y="73289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>
            <a:spLocks noGrp="1"/>
          </p:cNvSpPr>
          <p:nvPr>
            <p:ph type="title"/>
          </p:nvPr>
        </p:nvSpPr>
        <p:spPr>
          <a:xfrm>
            <a:off x="718448" y="517651"/>
            <a:ext cx="53098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5" dirty="0"/>
              <a:t>Что </a:t>
            </a:r>
            <a:r>
              <a:rPr spc="-5" dirty="0"/>
              <a:t>делать</a:t>
            </a:r>
            <a:r>
              <a:rPr spc="-15" dirty="0"/>
              <a:t> </a:t>
            </a:r>
            <a:r>
              <a:rPr spc="-5" dirty="0"/>
              <a:t>новой</a:t>
            </a:r>
            <a:r>
              <a:rPr spc="-20" dirty="0"/>
              <a:t> </a:t>
            </a:r>
            <a:r>
              <a:rPr spc="-10" dirty="0"/>
              <a:t>розничной</a:t>
            </a:r>
            <a:r>
              <a:rPr spc="-20" dirty="0"/>
              <a:t> точке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7999"/>
                </a:lnTo>
                <a:lnTo>
                  <a:pt x="12192000" y="6857999"/>
                </a:lnTo>
                <a:lnTo>
                  <a:pt x="12192000" y="0"/>
                </a:lnTo>
                <a:close/>
              </a:path>
            </a:pathLst>
          </a:custGeom>
          <a:solidFill>
            <a:srgbClr val="F2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380777" y="1859996"/>
            <a:ext cx="4300646" cy="2825976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380777" y="5213338"/>
            <a:ext cx="114300" cy="127000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1652557" y="5161788"/>
            <a:ext cx="2978785" cy="8763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99500"/>
              </a:lnSpc>
              <a:spcBef>
                <a:spcPts val="105"/>
              </a:spcBef>
            </a:pPr>
            <a:r>
              <a:rPr sz="1400" spc="-10" dirty="0">
                <a:solidFill>
                  <a:srgbClr val="595959"/>
                </a:solidFill>
                <a:latin typeface="Segoe UI"/>
                <a:cs typeface="Segoe UI"/>
              </a:rPr>
              <a:t>Уточните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у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поставщиков решений,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требуется ли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обновление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кассового </a:t>
            </a:r>
            <a:r>
              <a:rPr sz="1400" spc="-370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и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учетного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ПО для </a:t>
            </a:r>
            <a:r>
              <a:rPr sz="1400" spc="-10" dirty="0">
                <a:solidFill>
                  <a:srgbClr val="595959"/>
                </a:solidFill>
                <a:latin typeface="Segoe UI"/>
                <a:cs typeface="Segoe UI"/>
              </a:rPr>
              <a:t>работы </a:t>
            </a:r>
            <a:r>
              <a:rPr sz="1400" dirty="0">
                <a:solidFill>
                  <a:srgbClr val="595959"/>
                </a:solidFill>
                <a:latin typeface="Segoe UI"/>
                <a:cs typeface="Segoe UI"/>
              </a:rPr>
              <a:t>с </a:t>
            </a:r>
            <a:r>
              <a:rPr sz="1400" spc="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молочной продукцией.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620776" y="5099039"/>
            <a:ext cx="1079999" cy="1079999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530530" y="1859997"/>
            <a:ext cx="4320000" cy="4718359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530531" y="1465483"/>
            <a:ext cx="114300" cy="127000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6803581" y="1415796"/>
            <a:ext cx="181991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Попишите</a:t>
            </a:r>
            <a:r>
              <a:rPr sz="1400" spc="-3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документы</a:t>
            </a:r>
            <a:endParaRPr sz="1400">
              <a:latin typeface="Segoe UI"/>
              <a:cs typeface="Segoe UI"/>
            </a:endParaRPr>
          </a:p>
        </p:txBody>
      </p:sp>
      <p:pic>
        <p:nvPicPr>
          <p:cNvPr id="10" name="object 1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341469" y="1465483"/>
            <a:ext cx="114300" cy="127000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1614519" y="1415796"/>
            <a:ext cx="311594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15" dirty="0">
                <a:solidFill>
                  <a:srgbClr val="595959"/>
                </a:solidFill>
                <a:latin typeface="Segoe UI"/>
                <a:cs typeface="Segoe UI"/>
              </a:rPr>
              <a:t>Добавьте</a:t>
            </a:r>
            <a:r>
              <a:rPr sz="1400" spc="-10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товарную</a:t>
            </a:r>
            <a:r>
              <a:rPr sz="1400" spc="-1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группу</a:t>
            </a:r>
            <a:r>
              <a:rPr sz="1400" spc="-15" dirty="0">
                <a:solidFill>
                  <a:srgbClr val="595959"/>
                </a:solidFill>
                <a:latin typeface="Segoe UI"/>
                <a:cs typeface="Segoe UI"/>
              </a:rPr>
              <a:t> </a:t>
            </a:r>
            <a:r>
              <a:rPr sz="1400" spc="-5" dirty="0">
                <a:solidFill>
                  <a:srgbClr val="595959"/>
                </a:solidFill>
                <a:latin typeface="Segoe UI"/>
                <a:cs typeface="Segoe UI"/>
              </a:rPr>
              <a:t>«Молоко»</a:t>
            </a:r>
            <a:endParaRPr sz="1400">
              <a:latin typeface="Segoe UI"/>
              <a:cs typeface="Segoe U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15999" y="364671"/>
            <a:ext cx="11160125" cy="720090"/>
          </a:xfrm>
          <a:custGeom>
            <a:avLst/>
            <a:gdLst/>
            <a:ahLst/>
            <a:cxnLst/>
            <a:rect l="l" t="t" r="r" b="b"/>
            <a:pathLst>
              <a:path w="11160125" h="720090">
                <a:moveTo>
                  <a:pt x="11040003" y="0"/>
                </a:moveTo>
                <a:lnTo>
                  <a:pt x="119996" y="0"/>
                </a:lnTo>
                <a:lnTo>
                  <a:pt x="73288" y="9430"/>
                </a:lnTo>
                <a:lnTo>
                  <a:pt x="35146" y="35146"/>
                </a:lnTo>
                <a:lnTo>
                  <a:pt x="9429" y="73289"/>
                </a:lnTo>
                <a:lnTo>
                  <a:pt x="0" y="119998"/>
                </a:lnTo>
                <a:lnTo>
                  <a:pt x="0" y="600002"/>
                </a:lnTo>
                <a:lnTo>
                  <a:pt x="9429" y="646710"/>
                </a:lnTo>
                <a:lnTo>
                  <a:pt x="35146" y="684853"/>
                </a:lnTo>
                <a:lnTo>
                  <a:pt x="73288" y="710569"/>
                </a:lnTo>
                <a:lnTo>
                  <a:pt x="119996" y="719999"/>
                </a:lnTo>
                <a:lnTo>
                  <a:pt x="11040003" y="719999"/>
                </a:lnTo>
                <a:lnTo>
                  <a:pt x="11086711" y="710569"/>
                </a:lnTo>
                <a:lnTo>
                  <a:pt x="11124853" y="684853"/>
                </a:lnTo>
                <a:lnTo>
                  <a:pt x="11150569" y="646710"/>
                </a:lnTo>
                <a:lnTo>
                  <a:pt x="11159999" y="600002"/>
                </a:lnTo>
                <a:lnTo>
                  <a:pt x="11159999" y="119998"/>
                </a:lnTo>
                <a:lnTo>
                  <a:pt x="11150569" y="73289"/>
                </a:lnTo>
                <a:lnTo>
                  <a:pt x="11124853" y="35146"/>
                </a:lnTo>
                <a:lnTo>
                  <a:pt x="11086711" y="9430"/>
                </a:lnTo>
                <a:lnTo>
                  <a:pt x="11040003" y="0"/>
                </a:lnTo>
                <a:close/>
              </a:path>
            </a:pathLst>
          </a:custGeom>
          <a:solidFill>
            <a:srgbClr val="F6F52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718448" y="517651"/>
            <a:ext cx="720852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Если</a:t>
            </a:r>
            <a:r>
              <a:rPr spc="-10" dirty="0"/>
              <a:t> </a:t>
            </a:r>
            <a:r>
              <a:rPr spc="-15" dirty="0"/>
              <a:t>уже</a:t>
            </a:r>
            <a:r>
              <a:rPr spc="5" dirty="0"/>
              <a:t> </a:t>
            </a:r>
            <a:r>
              <a:rPr spc="-15" dirty="0"/>
              <a:t>продаете</a:t>
            </a:r>
            <a:r>
              <a:rPr spc="5" dirty="0"/>
              <a:t> </a:t>
            </a:r>
            <a:r>
              <a:rPr spc="-10" dirty="0"/>
              <a:t>маркированную</a:t>
            </a:r>
            <a:r>
              <a:rPr dirty="0"/>
              <a:t> </a:t>
            </a:r>
            <a:r>
              <a:rPr spc="-10" dirty="0"/>
              <a:t>продукцию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0" name="Straight Connector 7">
            <a:extLst>
              <a:ext uri="{FF2B5EF4-FFF2-40B4-BE49-F238E27FC236}">
                <a16:creationId xmlns:a16="http://schemas.microsoft.com/office/drawing/2014/main" xmlns="" id="{1466B919-37EC-4A92-A141-E8DEDEDE3533}"/>
              </a:ext>
            </a:extLst>
          </p:cNvPr>
          <p:cNvCxnSpPr>
            <a:cxnSpLocks/>
          </p:cNvCxnSpPr>
          <p:nvPr/>
        </p:nvCxnSpPr>
        <p:spPr>
          <a:xfrm flipV="1">
            <a:off x="1398196" y="2328622"/>
            <a:ext cx="9267752" cy="92224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bject 40">
            <a:extLst>
              <a:ext uri="{FF2B5EF4-FFF2-40B4-BE49-F238E27FC236}">
                <a16:creationId xmlns:a16="http://schemas.microsoft.com/office/drawing/2014/main" xmlns="" id="{8FDB78E9-A58C-4DF4-8A44-83D4F24BDBD6}"/>
              </a:ext>
            </a:extLst>
          </p:cNvPr>
          <p:cNvSpPr/>
          <p:nvPr/>
        </p:nvSpPr>
        <p:spPr>
          <a:xfrm>
            <a:off x="2744076" y="2188922"/>
            <a:ext cx="2989836" cy="279400"/>
          </a:xfrm>
          <a:custGeom>
            <a:avLst/>
            <a:gdLst/>
            <a:ahLst/>
            <a:cxnLst/>
            <a:rect l="l" t="t" r="r" b="b"/>
            <a:pathLst>
              <a:path w="1504315" h="279400">
                <a:moveTo>
                  <a:pt x="1441450" y="0"/>
                </a:moveTo>
                <a:lnTo>
                  <a:pt x="62737" y="0"/>
                </a:lnTo>
                <a:lnTo>
                  <a:pt x="38308" y="4927"/>
                </a:lnTo>
                <a:lnTo>
                  <a:pt x="18367" y="18367"/>
                </a:lnTo>
                <a:lnTo>
                  <a:pt x="4927" y="38308"/>
                </a:lnTo>
                <a:lnTo>
                  <a:pt x="0" y="62737"/>
                </a:lnTo>
                <a:lnTo>
                  <a:pt x="0" y="216153"/>
                </a:lnTo>
                <a:lnTo>
                  <a:pt x="4927" y="240583"/>
                </a:lnTo>
                <a:lnTo>
                  <a:pt x="18367" y="260524"/>
                </a:lnTo>
                <a:lnTo>
                  <a:pt x="38308" y="273964"/>
                </a:lnTo>
                <a:lnTo>
                  <a:pt x="62737" y="278891"/>
                </a:lnTo>
                <a:lnTo>
                  <a:pt x="1441450" y="278891"/>
                </a:lnTo>
                <a:lnTo>
                  <a:pt x="1465879" y="273964"/>
                </a:lnTo>
                <a:lnTo>
                  <a:pt x="1485820" y="260524"/>
                </a:lnTo>
                <a:lnTo>
                  <a:pt x="1499260" y="240583"/>
                </a:lnTo>
                <a:lnTo>
                  <a:pt x="1504188" y="216153"/>
                </a:lnTo>
                <a:lnTo>
                  <a:pt x="1504188" y="62737"/>
                </a:lnTo>
                <a:lnTo>
                  <a:pt x="1499260" y="38308"/>
                </a:lnTo>
                <a:lnTo>
                  <a:pt x="1485820" y="18367"/>
                </a:lnTo>
                <a:lnTo>
                  <a:pt x="1465879" y="4927"/>
                </a:lnTo>
                <a:lnTo>
                  <a:pt x="1441450" y="0"/>
                </a:lnTo>
                <a:close/>
              </a:path>
            </a:pathLst>
          </a:custGeom>
          <a:solidFill>
            <a:srgbClr val="F6F52D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xmlns="" id="{B38F909F-F8D9-C243-9B93-0EB69F36DBE6}"/>
              </a:ext>
            </a:extLst>
          </p:cNvPr>
          <p:cNvSpPr/>
          <p:nvPr/>
        </p:nvSpPr>
        <p:spPr>
          <a:xfrm>
            <a:off x="338163" y="329755"/>
            <a:ext cx="10010775" cy="604325"/>
          </a:xfrm>
          <a:prstGeom prst="roundRect">
            <a:avLst>
              <a:gd name="adj" fmla="val 15713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67500" rIns="67500" bIns="67500" rtlCol="0" anchor="ctr"/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ртовая прослеживаемость в ТГ Молоко и ТГ Упакованная вода</a:t>
            </a:r>
            <a:endParaRPr lang="x-none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xmlns="" id="{05B62B99-A0B9-49A4-A5AC-F842F2C65703}"/>
              </a:ext>
            </a:extLst>
          </p:cNvPr>
          <p:cNvSpPr txBox="1"/>
          <p:nvPr/>
        </p:nvSpPr>
        <p:spPr>
          <a:xfrm>
            <a:off x="2129207" y="2211281"/>
            <a:ext cx="4300855" cy="100540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200" b="1" spc="-120" dirty="0">
                <a:solidFill>
                  <a:srgbClr val="6C6D70"/>
                </a:solidFill>
                <a:latin typeface="Arial"/>
                <a:cs typeface="Arial"/>
              </a:rPr>
              <a:t>С </a:t>
            </a:r>
            <a:r>
              <a:rPr sz="1200" b="1" spc="20" dirty="0">
                <a:solidFill>
                  <a:srgbClr val="6C6D70"/>
                </a:solidFill>
                <a:latin typeface="Arial"/>
                <a:cs typeface="Arial"/>
              </a:rPr>
              <a:t>1 </a:t>
            </a:r>
            <a:r>
              <a:rPr sz="1200" b="1" spc="-30" dirty="0" err="1">
                <a:solidFill>
                  <a:srgbClr val="6C6D70"/>
                </a:solidFill>
                <a:latin typeface="Arial"/>
                <a:cs typeface="Arial"/>
              </a:rPr>
              <a:t>сентября</a:t>
            </a:r>
            <a:r>
              <a:rPr sz="1200" b="1" spc="-30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r>
              <a:rPr sz="1200" b="1" spc="20" dirty="0">
                <a:solidFill>
                  <a:srgbClr val="6C6D70"/>
                </a:solidFill>
                <a:latin typeface="Arial"/>
                <a:cs typeface="Arial"/>
              </a:rPr>
              <a:t>2022</a:t>
            </a:r>
            <a:r>
              <a:rPr lang="ru-RU" sz="1200" b="1" spc="20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endParaRPr sz="12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250" dirty="0">
              <a:latin typeface="Arial"/>
              <a:cs typeface="Arial"/>
            </a:endParaRPr>
          </a:p>
          <a:p>
            <a:pPr marL="12065" marR="5080" algn="ctr">
              <a:lnSpc>
                <a:spcPct val="100000"/>
              </a:lnSpc>
              <a:spcBef>
                <a:spcPts val="5"/>
              </a:spcBef>
            </a:pPr>
            <a:r>
              <a:rPr sz="1000" dirty="0">
                <a:solidFill>
                  <a:srgbClr val="6C6D70"/>
                </a:solidFill>
                <a:latin typeface="Arial"/>
                <a:cs typeface="Arial"/>
              </a:rPr>
              <a:t>Объемно-сортовой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учет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в </a:t>
            </a:r>
            <a:r>
              <a:rPr sz="1000" spc="-35" dirty="0">
                <a:solidFill>
                  <a:srgbClr val="6C6D70"/>
                </a:solidFill>
                <a:latin typeface="Arial"/>
                <a:cs typeface="Arial"/>
              </a:rPr>
              <a:t>эУПД </a:t>
            </a:r>
            <a:r>
              <a:rPr sz="1000" spc="15" dirty="0">
                <a:solidFill>
                  <a:srgbClr val="6C6D70"/>
                </a:solidFill>
                <a:latin typeface="Arial"/>
                <a:cs typeface="Arial"/>
              </a:rPr>
              <a:t>(нужно </a:t>
            </a:r>
            <a:r>
              <a:rPr sz="1000" spc="-25" dirty="0">
                <a:solidFill>
                  <a:srgbClr val="6C6D70"/>
                </a:solidFill>
                <a:latin typeface="Arial"/>
                <a:cs typeface="Arial"/>
              </a:rPr>
              <a:t>подавать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электронный документ  </a:t>
            </a:r>
            <a:r>
              <a:rPr sz="1000" spc="-30" dirty="0">
                <a:solidFill>
                  <a:srgbClr val="6C6D70"/>
                </a:solidFill>
                <a:latin typeface="Arial"/>
                <a:cs typeface="Arial"/>
              </a:rPr>
              <a:t>УПД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в </a:t>
            </a:r>
            <a:r>
              <a:rPr sz="1000" spc="-35" dirty="0">
                <a:solidFill>
                  <a:srgbClr val="6C6D70"/>
                </a:solidFill>
                <a:latin typeface="Arial"/>
                <a:cs typeface="Arial"/>
              </a:rPr>
              <a:t>формате </a:t>
            </a:r>
            <a:r>
              <a:rPr sz="1000" spc="5" dirty="0">
                <a:solidFill>
                  <a:srgbClr val="6C6D70"/>
                </a:solidFill>
                <a:latin typeface="Arial"/>
                <a:cs typeface="Arial"/>
              </a:rPr>
              <a:t>доп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или </a:t>
            </a:r>
            <a:r>
              <a:rPr sz="1000" spc="-25" dirty="0">
                <a:solidFill>
                  <a:srgbClr val="6C6D70"/>
                </a:solidFill>
                <a:latin typeface="Arial"/>
                <a:cs typeface="Arial"/>
              </a:rPr>
              <a:t>счфдоп) </a:t>
            </a:r>
            <a:r>
              <a:rPr sz="1000" spc="20" dirty="0">
                <a:solidFill>
                  <a:srgbClr val="6C6D70"/>
                </a:solidFill>
                <a:latin typeface="Arial"/>
                <a:cs typeface="Arial"/>
              </a:rPr>
              <a:t>и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вывод </a:t>
            </a:r>
            <a:r>
              <a:rPr sz="1000" dirty="0">
                <a:solidFill>
                  <a:srgbClr val="6C6D70"/>
                </a:solidFill>
                <a:latin typeface="Arial"/>
                <a:cs typeface="Arial"/>
              </a:rPr>
              <a:t>из оборота </a:t>
            </a:r>
            <a:r>
              <a:rPr sz="1000" spc="25" dirty="0">
                <a:solidFill>
                  <a:srgbClr val="6C6D70"/>
                </a:solidFill>
                <a:latin typeface="Arial"/>
                <a:cs typeface="Arial"/>
              </a:rPr>
              <a:t>по </a:t>
            </a:r>
            <a:r>
              <a:rPr sz="1000" dirty="0">
                <a:solidFill>
                  <a:srgbClr val="6C6D70"/>
                </a:solidFill>
                <a:latin typeface="Arial"/>
                <a:cs typeface="Arial"/>
              </a:rPr>
              <a:t>причинам,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не  </a:t>
            </a:r>
            <a:r>
              <a:rPr sz="1000" spc="-15" dirty="0">
                <a:solidFill>
                  <a:srgbClr val="6C6D70"/>
                </a:solidFill>
                <a:latin typeface="Arial"/>
                <a:cs typeface="Arial"/>
              </a:rPr>
              <a:t>связанным </a:t>
            </a:r>
            <a:r>
              <a:rPr sz="1000" spc="-40" dirty="0">
                <a:solidFill>
                  <a:srgbClr val="6C6D70"/>
                </a:solidFill>
                <a:latin typeface="Arial"/>
                <a:cs typeface="Arial"/>
              </a:rPr>
              <a:t>с </a:t>
            </a:r>
            <a:r>
              <a:rPr sz="1000" spc="5" dirty="0">
                <a:solidFill>
                  <a:srgbClr val="6C6D70"/>
                </a:solidFill>
                <a:latin typeface="Arial"/>
                <a:cs typeface="Arial"/>
              </a:rPr>
              <a:t>продажей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через </a:t>
            </a:r>
            <a:r>
              <a:rPr sz="1000" spc="-40" dirty="0">
                <a:solidFill>
                  <a:srgbClr val="6C6D70"/>
                </a:solidFill>
                <a:latin typeface="Arial"/>
                <a:cs typeface="Arial"/>
              </a:rPr>
              <a:t>ККТ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в </a:t>
            </a:r>
            <a:r>
              <a:rPr sz="1000" spc="5" dirty="0" err="1">
                <a:solidFill>
                  <a:srgbClr val="6C6D70"/>
                </a:solidFill>
                <a:latin typeface="Arial"/>
                <a:cs typeface="Arial"/>
              </a:rPr>
              <a:t>объемно-сортовом</a:t>
            </a:r>
            <a:r>
              <a:rPr sz="1000" spc="125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r>
              <a:rPr sz="1000" spc="-20" dirty="0" err="1">
                <a:solidFill>
                  <a:srgbClr val="6C6D70"/>
                </a:solidFill>
                <a:latin typeface="Arial"/>
                <a:cs typeface="Arial"/>
              </a:rPr>
              <a:t>виде</a:t>
            </a:r>
            <a:r>
              <a:rPr lang="ru-RU" sz="1000" spc="-20" dirty="0">
                <a:solidFill>
                  <a:srgbClr val="6C6D70"/>
                </a:solidFill>
                <a:latin typeface="Arial"/>
                <a:cs typeface="Arial"/>
              </a:rPr>
              <a:t>.    </a:t>
            </a:r>
          </a:p>
          <a:p>
            <a:pPr marL="12065" marR="5080" algn="ctr">
              <a:lnSpc>
                <a:spcPct val="100000"/>
              </a:lnSpc>
              <a:spcBef>
                <a:spcPts val="5"/>
              </a:spcBef>
            </a:pPr>
            <a:r>
              <a:rPr lang="ru-RU" sz="1000" b="1" spc="-20" dirty="0">
                <a:solidFill>
                  <a:srgbClr val="6C6D70"/>
                </a:solidFill>
                <a:latin typeface="Arial"/>
                <a:cs typeface="Arial"/>
              </a:rPr>
              <a:t>С 1 декабря для </a:t>
            </a:r>
            <a:r>
              <a:rPr lang="ru-RU" sz="1000" b="1" i="0" dirty="0">
                <a:solidFill>
                  <a:srgbClr val="363634"/>
                </a:solidFill>
                <a:effectLst/>
                <a:latin typeface="Circe"/>
              </a:rPr>
              <a:t>сегмента </a:t>
            </a:r>
            <a:r>
              <a:rPr lang="ru-RU" sz="1000" b="1" i="0" dirty="0" err="1">
                <a:solidFill>
                  <a:srgbClr val="363634"/>
                </a:solidFill>
                <a:effectLst/>
                <a:latin typeface="Circe"/>
              </a:rPr>
              <a:t>HoReCa</a:t>
            </a:r>
            <a:r>
              <a:rPr lang="ru-RU" sz="1000" b="1" i="0" dirty="0">
                <a:solidFill>
                  <a:srgbClr val="363634"/>
                </a:solidFill>
                <a:effectLst/>
                <a:latin typeface="Circe"/>
              </a:rPr>
              <a:t> и фермеры.</a:t>
            </a:r>
            <a:endParaRPr sz="1000" b="1" dirty="0">
              <a:latin typeface="Arial"/>
              <a:cs typeface="Arial"/>
            </a:endParaRPr>
          </a:p>
        </p:txBody>
      </p:sp>
      <p:sp>
        <p:nvSpPr>
          <p:cNvPr id="34" name="object 3">
            <a:extLst>
              <a:ext uri="{FF2B5EF4-FFF2-40B4-BE49-F238E27FC236}">
                <a16:creationId xmlns:a16="http://schemas.microsoft.com/office/drawing/2014/main" xmlns="" id="{8FDF529A-85F2-4CEA-9A1C-6B1080EE4F2C}"/>
              </a:ext>
            </a:extLst>
          </p:cNvPr>
          <p:cNvSpPr/>
          <p:nvPr/>
        </p:nvSpPr>
        <p:spPr>
          <a:xfrm>
            <a:off x="7471336" y="2178895"/>
            <a:ext cx="2982595" cy="279400"/>
          </a:xfrm>
          <a:custGeom>
            <a:avLst/>
            <a:gdLst/>
            <a:ahLst/>
            <a:cxnLst/>
            <a:rect l="l" t="t" r="r" b="b"/>
            <a:pathLst>
              <a:path w="2982595" h="279400">
                <a:moveTo>
                  <a:pt x="2919729" y="0"/>
                </a:moveTo>
                <a:lnTo>
                  <a:pt x="62737" y="0"/>
                </a:lnTo>
                <a:lnTo>
                  <a:pt x="38308" y="4927"/>
                </a:lnTo>
                <a:lnTo>
                  <a:pt x="18367" y="18367"/>
                </a:lnTo>
                <a:lnTo>
                  <a:pt x="4927" y="38308"/>
                </a:lnTo>
                <a:lnTo>
                  <a:pt x="0" y="62738"/>
                </a:lnTo>
                <a:lnTo>
                  <a:pt x="0" y="216154"/>
                </a:lnTo>
                <a:lnTo>
                  <a:pt x="4927" y="240583"/>
                </a:lnTo>
                <a:lnTo>
                  <a:pt x="18367" y="260524"/>
                </a:lnTo>
                <a:lnTo>
                  <a:pt x="38308" y="273964"/>
                </a:lnTo>
                <a:lnTo>
                  <a:pt x="62737" y="278892"/>
                </a:lnTo>
                <a:lnTo>
                  <a:pt x="2919729" y="278892"/>
                </a:lnTo>
                <a:lnTo>
                  <a:pt x="2944159" y="273964"/>
                </a:lnTo>
                <a:lnTo>
                  <a:pt x="2964100" y="260524"/>
                </a:lnTo>
                <a:lnTo>
                  <a:pt x="2977540" y="240583"/>
                </a:lnTo>
                <a:lnTo>
                  <a:pt x="2982467" y="216154"/>
                </a:lnTo>
                <a:lnTo>
                  <a:pt x="2982467" y="62738"/>
                </a:lnTo>
                <a:lnTo>
                  <a:pt x="2977540" y="38308"/>
                </a:lnTo>
                <a:lnTo>
                  <a:pt x="2964100" y="18367"/>
                </a:lnTo>
                <a:lnTo>
                  <a:pt x="2944159" y="4927"/>
                </a:lnTo>
                <a:lnTo>
                  <a:pt x="2919729" y="0"/>
                </a:lnTo>
                <a:close/>
              </a:path>
            </a:pathLst>
          </a:custGeom>
          <a:solidFill>
            <a:srgbClr val="F6F52D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5" name="object 4">
            <a:extLst>
              <a:ext uri="{FF2B5EF4-FFF2-40B4-BE49-F238E27FC236}">
                <a16:creationId xmlns:a16="http://schemas.microsoft.com/office/drawing/2014/main" xmlns="" id="{2CA5B692-208D-4853-8872-234A3372B664}"/>
              </a:ext>
            </a:extLst>
          </p:cNvPr>
          <p:cNvSpPr txBox="1"/>
          <p:nvPr/>
        </p:nvSpPr>
        <p:spPr>
          <a:xfrm>
            <a:off x="7020359" y="2211281"/>
            <a:ext cx="3883660" cy="853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5" algn="ctr">
              <a:lnSpc>
                <a:spcPct val="100000"/>
              </a:lnSpc>
              <a:spcBef>
                <a:spcPts val="100"/>
              </a:spcBef>
            </a:pPr>
            <a:r>
              <a:rPr sz="1200" b="1" spc="-120" dirty="0">
                <a:solidFill>
                  <a:srgbClr val="6C6D70"/>
                </a:solidFill>
                <a:latin typeface="Arial"/>
                <a:cs typeface="Arial"/>
              </a:rPr>
              <a:t>С  </a:t>
            </a:r>
            <a:r>
              <a:rPr sz="1200" b="1" spc="20" dirty="0">
                <a:solidFill>
                  <a:srgbClr val="6C6D70"/>
                </a:solidFill>
                <a:latin typeface="Arial"/>
                <a:cs typeface="Arial"/>
              </a:rPr>
              <a:t>1 </a:t>
            </a:r>
            <a:r>
              <a:rPr lang="ru-RU" sz="1200" b="1" spc="-5" dirty="0">
                <a:solidFill>
                  <a:srgbClr val="6C6D70"/>
                </a:solidFill>
                <a:latin typeface="Arial"/>
                <a:cs typeface="Arial"/>
              </a:rPr>
              <a:t>июня</a:t>
            </a:r>
            <a:r>
              <a:rPr sz="1200" b="1" spc="-155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r>
              <a:rPr sz="1200" b="1" spc="20" dirty="0">
                <a:solidFill>
                  <a:srgbClr val="6C6D70"/>
                </a:solidFill>
                <a:latin typeface="Arial"/>
                <a:cs typeface="Arial"/>
              </a:rPr>
              <a:t>202</a:t>
            </a:r>
            <a:r>
              <a:rPr lang="ru-RU" sz="1200" b="1" spc="20" dirty="0">
                <a:solidFill>
                  <a:srgbClr val="6C6D70"/>
                </a:solidFill>
                <a:latin typeface="Arial"/>
                <a:cs typeface="Arial"/>
              </a:rPr>
              <a:t>5</a:t>
            </a:r>
            <a:endParaRPr sz="12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250" dirty="0">
              <a:latin typeface="Arial"/>
              <a:cs typeface="Arial"/>
            </a:endParaRPr>
          </a:p>
          <a:p>
            <a:pPr marL="12700" marR="5080" algn="ctr">
              <a:lnSpc>
                <a:spcPct val="100000"/>
              </a:lnSpc>
              <a:spcBef>
                <a:spcPts val="5"/>
              </a:spcBef>
            </a:pP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Поэкземплярный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учет </a:t>
            </a:r>
            <a:r>
              <a:rPr sz="1000" spc="-50" dirty="0">
                <a:solidFill>
                  <a:srgbClr val="6C6D70"/>
                </a:solidFill>
                <a:latin typeface="Arial"/>
                <a:cs typeface="Arial"/>
              </a:rPr>
              <a:t>для </a:t>
            </a:r>
            <a:r>
              <a:rPr sz="1000" spc="5" dirty="0">
                <a:solidFill>
                  <a:srgbClr val="6C6D70"/>
                </a:solidFill>
                <a:latin typeface="Arial"/>
                <a:cs typeface="Arial"/>
              </a:rPr>
              <a:t>продукции, </a:t>
            </a:r>
            <a:r>
              <a:rPr sz="1000" spc="-95" dirty="0">
                <a:solidFill>
                  <a:srgbClr val="6C6D70"/>
                </a:solidFill>
                <a:latin typeface="Arial"/>
                <a:cs typeface="Arial"/>
              </a:rPr>
              <a:t>СГ </a:t>
            </a:r>
            <a:r>
              <a:rPr sz="1000" spc="15" dirty="0">
                <a:solidFill>
                  <a:srgbClr val="6C6D70"/>
                </a:solidFill>
                <a:latin typeface="Arial"/>
                <a:cs typeface="Arial"/>
              </a:rPr>
              <a:t>которой </a:t>
            </a:r>
            <a:r>
              <a:rPr sz="1000" spc="-25" dirty="0">
                <a:solidFill>
                  <a:srgbClr val="6C6D70"/>
                </a:solidFill>
                <a:latin typeface="Arial"/>
                <a:cs typeface="Arial"/>
              </a:rPr>
              <a:t>более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40 </a:t>
            </a:r>
            <a:r>
              <a:rPr sz="1000" spc="-15" dirty="0">
                <a:solidFill>
                  <a:srgbClr val="6C6D70"/>
                </a:solidFill>
                <a:latin typeface="Arial"/>
                <a:cs typeface="Arial"/>
              </a:rPr>
              <a:t>суток.  </a:t>
            </a:r>
            <a:r>
              <a:rPr sz="1000" spc="-30" dirty="0">
                <a:solidFill>
                  <a:srgbClr val="6C6D70"/>
                </a:solidFill>
                <a:latin typeface="Arial"/>
                <a:cs typeface="Arial"/>
              </a:rPr>
              <a:t>Для </a:t>
            </a:r>
            <a:r>
              <a:rPr sz="1000" spc="5" dirty="0">
                <a:solidFill>
                  <a:srgbClr val="6C6D70"/>
                </a:solidFill>
                <a:latin typeface="Arial"/>
                <a:cs typeface="Arial"/>
              </a:rPr>
              <a:t>продукции,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со </a:t>
            </a:r>
            <a:r>
              <a:rPr sz="1000" spc="-95" dirty="0">
                <a:solidFill>
                  <a:srgbClr val="6C6D70"/>
                </a:solidFill>
                <a:latin typeface="Arial"/>
                <a:cs typeface="Arial"/>
              </a:rPr>
              <a:t>СГ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40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суток </a:t>
            </a:r>
            <a:r>
              <a:rPr sz="1000" spc="20" dirty="0">
                <a:solidFill>
                  <a:srgbClr val="6C6D70"/>
                </a:solidFill>
                <a:latin typeface="Arial"/>
                <a:cs typeface="Arial"/>
              </a:rPr>
              <a:t>и </a:t>
            </a:r>
            <a:r>
              <a:rPr sz="1000" spc="-20" dirty="0">
                <a:solidFill>
                  <a:srgbClr val="6C6D70"/>
                </a:solidFill>
                <a:latin typeface="Arial"/>
                <a:cs typeface="Arial"/>
              </a:rPr>
              <a:t>менее </a:t>
            </a:r>
            <a:r>
              <a:rPr sz="1000" spc="-5" dirty="0">
                <a:solidFill>
                  <a:srgbClr val="6C6D70"/>
                </a:solidFill>
                <a:latin typeface="Arial"/>
                <a:cs typeface="Arial"/>
              </a:rPr>
              <a:t>поэкземплярный </a:t>
            </a:r>
            <a:r>
              <a:rPr sz="1000" spc="15" dirty="0">
                <a:solidFill>
                  <a:srgbClr val="6C6D70"/>
                </a:solidFill>
                <a:latin typeface="Arial"/>
                <a:cs typeface="Arial"/>
              </a:rPr>
              <a:t>режим  </a:t>
            </a:r>
            <a:r>
              <a:rPr sz="1000" spc="-10" dirty="0">
                <a:solidFill>
                  <a:srgbClr val="6C6D70"/>
                </a:solidFill>
                <a:latin typeface="Arial"/>
                <a:cs typeface="Arial"/>
              </a:rPr>
              <a:t>не </a:t>
            </a:r>
            <a:r>
              <a:rPr sz="1000" spc="-35" dirty="0">
                <a:solidFill>
                  <a:srgbClr val="6C6D70"/>
                </a:solidFill>
                <a:latin typeface="Arial"/>
                <a:cs typeface="Arial"/>
              </a:rPr>
              <a:t>наступает (действует</a:t>
            </a:r>
            <a:r>
              <a:rPr sz="1000" spc="114" dirty="0">
                <a:solidFill>
                  <a:srgbClr val="6C6D70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6C6D70"/>
                </a:solidFill>
                <a:latin typeface="Arial"/>
                <a:cs typeface="Arial"/>
              </a:rPr>
              <a:t>объемно-сортовой)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89" name="object 43">
            <a:extLst>
              <a:ext uri="{FF2B5EF4-FFF2-40B4-BE49-F238E27FC236}">
                <a16:creationId xmlns:a16="http://schemas.microsoft.com/office/drawing/2014/main" xmlns="" id="{54BB8801-192E-406A-959D-81A27A6C5C84}"/>
              </a:ext>
            </a:extLst>
          </p:cNvPr>
          <p:cNvSpPr txBox="1">
            <a:spLocks noGrp="1"/>
          </p:cNvSpPr>
          <p:nvPr/>
        </p:nvSpPr>
        <p:spPr>
          <a:xfrm>
            <a:off x="11200828" y="6491712"/>
            <a:ext cx="151765" cy="189229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rgbClr val="7E7E7E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lnSpc>
                <a:spcPct val="100000"/>
              </a:lnSpc>
              <a:spcBef>
                <a:spcPts val="110"/>
              </a:spcBef>
            </a:pPr>
            <a:r>
              <a:rPr spc="35" dirty="0"/>
              <a:t>2</a:t>
            </a:r>
          </a:p>
        </p:txBody>
      </p:sp>
      <p:sp>
        <p:nvSpPr>
          <p:cNvPr id="49" name="Rounded Rectangle 31">
            <a:extLst>
              <a:ext uri="{FF2B5EF4-FFF2-40B4-BE49-F238E27FC236}">
                <a16:creationId xmlns:a16="http://schemas.microsoft.com/office/drawing/2014/main" xmlns="" id="{B68B9F5A-6B11-4C81-A6F0-99A8305F7938}"/>
              </a:ext>
            </a:extLst>
          </p:cNvPr>
          <p:cNvSpPr/>
          <p:nvPr/>
        </p:nvSpPr>
        <p:spPr>
          <a:xfrm>
            <a:off x="212268" y="1207232"/>
            <a:ext cx="2789349" cy="512239"/>
          </a:xfrm>
          <a:prstGeom prst="roundRect">
            <a:avLst>
              <a:gd name="adj" fmla="val 15713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67500" rIns="67500" bIns="67500" rtlCol="0" anchor="ctr"/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Г Молоко</a:t>
            </a:r>
            <a:endParaRPr lang="x-none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Rounded Rectangle 31">
            <a:extLst>
              <a:ext uri="{FF2B5EF4-FFF2-40B4-BE49-F238E27FC236}">
                <a16:creationId xmlns:a16="http://schemas.microsoft.com/office/drawing/2014/main" xmlns="" id="{9EACD6BC-B140-4C0C-9D52-A0B037F56E79}"/>
              </a:ext>
            </a:extLst>
          </p:cNvPr>
          <p:cNvSpPr/>
          <p:nvPr/>
        </p:nvSpPr>
        <p:spPr>
          <a:xfrm>
            <a:off x="212268" y="3826337"/>
            <a:ext cx="2789349" cy="595097"/>
          </a:xfrm>
          <a:prstGeom prst="roundRect">
            <a:avLst>
              <a:gd name="adj" fmla="val 15713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67500" rIns="67500" bIns="67500" rtlCol="0" anchor="ctr"/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Г Упакованная вода</a:t>
            </a:r>
            <a:endParaRPr lang="x-none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Rounded Rectangle 167">
            <a:extLst>
              <a:ext uri="{FF2B5EF4-FFF2-40B4-BE49-F238E27FC236}">
                <a16:creationId xmlns:a16="http://schemas.microsoft.com/office/drawing/2014/main" xmlns="" id="{51EC61BC-CF83-4271-94BA-851159A2AC04}"/>
              </a:ext>
            </a:extLst>
          </p:cNvPr>
          <p:cNvSpPr/>
          <p:nvPr/>
        </p:nvSpPr>
        <p:spPr>
          <a:xfrm>
            <a:off x="487250" y="4716394"/>
            <a:ext cx="1262555" cy="1280887"/>
          </a:xfrm>
          <a:prstGeom prst="roundRect">
            <a:avLst>
              <a:gd name="adj" fmla="val 7708"/>
            </a:avLst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9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Rectangle 90">
            <a:extLst>
              <a:ext uri="{FF2B5EF4-FFF2-40B4-BE49-F238E27FC236}">
                <a16:creationId xmlns:a16="http://schemas.microsoft.com/office/drawing/2014/main" xmlns="" id="{2D1BA31D-BC8E-4F50-95F2-2592710F2134}"/>
              </a:ext>
            </a:extLst>
          </p:cNvPr>
          <p:cNvSpPr/>
          <p:nvPr/>
        </p:nvSpPr>
        <p:spPr>
          <a:xfrm>
            <a:off x="3260791" y="5567871"/>
            <a:ext cx="2393405" cy="215444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ый электронный документооборот - объёмно-сортовой учёт по УПД</a:t>
            </a:r>
          </a:p>
        </p:txBody>
      </p:sp>
      <p:cxnSp>
        <p:nvCxnSpPr>
          <p:cNvPr id="67" name="Straight Connector 7">
            <a:extLst>
              <a:ext uri="{FF2B5EF4-FFF2-40B4-BE49-F238E27FC236}">
                <a16:creationId xmlns:a16="http://schemas.microsoft.com/office/drawing/2014/main" xmlns="" id="{F5E9935D-8872-435E-A3C1-BF35CC0210F3}"/>
              </a:ext>
            </a:extLst>
          </p:cNvPr>
          <p:cNvCxnSpPr>
            <a:cxnSpLocks/>
          </p:cNvCxnSpPr>
          <p:nvPr/>
        </p:nvCxnSpPr>
        <p:spPr>
          <a:xfrm flipV="1">
            <a:off x="1327361" y="5297557"/>
            <a:ext cx="9267752" cy="92224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89">
            <a:extLst>
              <a:ext uri="{FF2B5EF4-FFF2-40B4-BE49-F238E27FC236}">
                <a16:creationId xmlns:a16="http://schemas.microsoft.com/office/drawing/2014/main" xmlns="" id="{F13C525B-6523-4798-A54C-124DC43A3DE8}"/>
              </a:ext>
            </a:extLst>
          </p:cNvPr>
          <p:cNvSpPr/>
          <p:nvPr/>
        </p:nvSpPr>
        <p:spPr>
          <a:xfrm>
            <a:off x="2831250" y="5255718"/>
            <a:ext cx="2789348" cy="215444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</a:t>
            </a:r>
            <a:r>
              <a:rPr lang="ru-RU" sz="1200" b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ября 2022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ounded Rectangle 92">
            <a:extLst>
              <a:ext uri="{FF2B5EF4-FFF2-40B4-BE49-F238E27FC236}">
                <a16:creationId xmlns:a16="http://schemas.microsoft.com/office/drawing/2014/main" xmlns="" id="{1312E8FE-6C5F-4895-AE44-8FE201F5D988}"/>
              </a:ext>
            </a:extLst>
          </p:cNvPr>
          <p:cNvSpPr/>
          <p:nvPr/>
        </p:nvSpPr>
        <p:spPr>
          <a:xfrm>
            <a:off x="7734507" y="5208438"/>
            <a:ext cx="2323577" cy="22057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марта 2025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Rectangle 93">
            <a:extLst>
              <a:ext uri="{FF2B5EF4-FFF2-40B4-BE49-F238E27FC236}">
                <a16:creationId xmlns:a16="http://schemas.microsoft.com/office/drawing/2014/main" xmlns="" id="{49C0055D-01A9-4713-BB33-98FC1960BC9F}"/>
              </a:ext>
            </a:extLst>
          </p:cNvPr>
          <p:cNvSpPr/>
          <p:nvPr/>
        </p:nvSpPr>
        <p:spPr>
          <a:xfrm>
            <a:off x="7678453" y="5520591"/>
            <a:ext cx="2431618" cy="215444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ый электронный документооборот - </a:t>
            </a:r>
            <a:r>
              <a:rPr lang="ru-RU" sz="7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экземплярный</a:t>
            </a:r>
            <a:r>
              <a:rPr lang="ru-RU" sz="7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учёт по УПД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8AE18840-A7E6-460D-AE60-FD6BA2D9243D}"/>
              </a:ext>
            </a:extLst>
          </p:cNvPr>
          <p:cNvSpPr txBox="1"/>
          <p:nvPr/>
        </p:nvSpPr>
        <p:spPr>
          <a:xfrm>
            <a:off x="630916" y="5567871"/>
            <a:ext cx="10297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</a:t>
            </a:r>
          </a:p>
        </p:txBody>
      </p:sp>
      <p:pic>
        <p:nvPicPr>
          <p:cNvPr id="72" name="Picture 43">
            <a:extLst>
              <a:ext uri="{FF2B5EF4-FFF2-40B4-BE49-F238E27FC236}">
                <a16:creationId xmlns:a16="http://schemas.microsoft.com/office/drawing/2014/main" xmlns="" id="{74158102-CDE3-488E-B4C4-1B8CF161186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3022" y="4950820"/>
            <a:ext cx="569283" cy="569283"/>
          </a:xfrm>
          <a:prstGeom prst="rect">
            <a:avLst/>
          </a:prstGeom>
        </p:spPr>
      </p:pic>
      <p:pic>
        <p:nvPicPr>
          <p:cNvPr id="87" name="Picture 70">
            <a:extLst>
              <a:ext uri="{FF2B5EF4-FFF2-40B4-BE49-F238E27FC236}">
                <a16:creationId xmlns:a16="http://schemas.microsoft.com/office/drawing/2014/main" xmlns="" id="{2D86A688-CBD1-474D-A9D1-86EF7CCA22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9294" y="4787466"/>
            <a:ext cx="426962" cy="42696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88" name="Picture 71">
            <a:extLst>
              <a:ext uri="{FF2B5EF4-FFF2-40B4-BE49-F238E27FC236}">
                <a16:creationId xmlns:a16="http://schemas.microsoft.com/office/drawing/2014/main" xmlns="" id="{FBC584E7-394B-441A-9AF5-D74618672D0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15591" y="4740186"/>
            <a:ext cx="426962" cy="42696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3" name="Rounded Rectangle 167">
            <a:extLst>
              <a:ext uri="{FF2B5EF4-FFF2-40B4-BE49-F238E27FC236}">
                <a16:creationId xmlns:a16="http://schemas.microsoft.com/office/drawing/2014/main" xmlns="" id="{5CB1405B-84EA-4511-82EA-7E9B158AEB1D}"/>
              </a:ext>
            </a:extLst>
          </p:cNvPr>
          <p:cNvSpPr/>
          <p:nvPr/>
        </p:nvSpPr>
        <p:spPr>
          <a:xfrm>
            <a:off x="528847" y="1927858"/>
            <a:ext cx="1262555" cy="1280887"/>
          </a:xfrm>
          <a:prstGeom prst="roundRect">
            <a:avLst>
              <a:gd name="adj" fmla="val 7708"/>
            </a:avLst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9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54A985DD-185D-47D4-933D-2D2CE209012B}"/>
              </a:ext>
            </a:extLst>
          </p:cNvPr>
          <p:cNvSpPr txBox="1"/>
          <p:nvPr/>
        </p:nvSpPr>
        <p:spPr>
          <a:xfrm>
            <a:off x="672513" y="2779335"/>
            <a:ext cx="10297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</a:t>
            </a:r>
          </a:p>
        </p:txBody>
      </p:sp>
      <p:pic>
        <p:nvPicPr>
          <p:cNvPr id="99" name="Picture 43">
            <a:extLst>
              <a:ext uri="{FF2B5EF4-FFF2-40B4-BE49-F238E27FC236}">
                <a16:creationId xmlns:a16="http://schemas.microsoft.com/office/drawing/2014/main" xmlns="" id="{DB4B1C47-37F5-4DFC-942C-14CC798734A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4619" y="2162284"/>
            <a:ext cx="569283" cy="56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8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39" y="270372"/>
            <a:ext cx="9558022" cy="110701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90646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иды электронных документов регистрирующие оборот маркированных товаров в ГИС МТ 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87B020-D92F-AA46-BE48-11E076B47043}"/>
              </a:ext>
            </a:extLst>
          </p:cNvPr>
          <p:cNvSpPr txBox="1"/>
          <p:nvPr/>
        </p:nvSpPr>
        <p:spPr>
          <a:xfrm>
            <a:off x="437341" y="1734228"/>
            <a:ext cx="6847263" cy="47038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+mn-lt"/>
              </a:rPr>
              <a:t>Формат УПД\УПД(и)</a:t>
            </a:r>
            <a:r>
              <a:rPr lang="en-US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+mn-lt"/>
              </a:rPr>
              <a:t>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Приказ от 19.12.2018 № ММВ-7-15/820@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Функция </a:t>
            </a:r>
            <a:r>
              <a:rPr lang="ru-RU" sz="1600" b="0" i="0" dirty="0">
                <a:solidFill>
                  <a:srgbClr val="363634"/>
                </a:solidFill>
                <a:effectLst/>
                <a:latin typeface="Circe"/>
              </a:rPr>
              <a:t>ДОП, СЧФДОП</a:t>
            </a: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Формат УКД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Приказ ФНС</a:t>
            </a:r>
            <a:r>
              <a:rPr lang="en-US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от 12 октября 2020г. N ЕД-7-26/736@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Функция </a:t>
            </a:r>
            <a:r>
              <a:rPr lang="ru-RU" sz="1600" b="0" i="0" dirty="0">
                <a:solidFill>
                  <a:srgbClr val="363634"/>
                </a:solidFill>
                <a:effectLst/>
                <a:latin typeface="Circe"/>
              </a:rPr>
              <a:t>ДИС, КСЧФДИС</a:t>
            </a: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Аннулирование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документов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 marL="171450" indent="-171450"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Признаки вида оборота в УПД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УПД с признаками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приобретения для собственных нужд и безвозмездной передачи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УПД с признаками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агентской и комиссионных схем</a:t>
            </a:r>
          </a:p>
          <a:p>
            <a:pPr>
              <a:spcBef>
                <a:spcPts val="1000"/>
              </a:spcBef>
              <a:spcAft>
                <a:spcPct val="0"/>
              </a:spcAft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  <a:p>
            <a:pPr>
              <a:spcBef>
                <a:spcPts val="1000"/>
              </a:spcBef>
              <a:spcAft>
                <a:spcPct val="0"/>
              </a:spcAft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B22279F-888B-3840-A808-72DD00F955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8038" y="1471483"/>
            <a:ext cx="4222728" cy="41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2404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39" y="270372"/>
            <a:ext cx="9558022" cy="110701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90646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сведений об обороте. Электронный документооборот ЭДО. 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7F7B2E9-0BF0-244D-A3BE-28210A49309B}"/>
              </a:ext>
            </a:extLst>
          </p:cNvPr>
          <p:cNvSpPr txBox="1"/>
          <p:nvPr/>
        </p:nvSpPr>
        <p:spPr>
          <a:xfrm>
            <a:off x="458845" y="1490929"/>
            <a:ext cx="6538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е права собственности 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анной продукции:</a:t>
            </a:r>
            <a:endParaRPr lang="en-US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87B020-D92F-AA46-BE48-11E076B47043}"/>
              </a:ext>
            </a:extLst>
          </p:cNvPr>
          <p:cNvSpPr txBox="1"/>
          <p:nvPr/>
        </p:nvSpPr>
        <p:spPr>
          <a:xfrm>
            <a:off x="440648" y="2032652"/>
            <a:ext cx="684726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уется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универсальный передаточный документ с указанием вида сделки), УКД,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дписывается УКЭП;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ется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 ЭДО покупателю;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ляется в информационную систему мониторинга в срок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более 3 рабочих дней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о дня приемки маркированного товара, но не позднее дня передачи этих товаров третьим лицам;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емка (подписание УПД покупателем)  может осуществляться через интеграцию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учётной системой\личным кабинетом оператора ЭДО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\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нлайн кассой.</a:t>
            </a: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B22279F-888B-3840-A808-72DD00F95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8038" y="1471483"/>
            <a:ext cx="4222728" cy="4129828"/>
          </a:xfrm>
          <a:prstGeom prst="rect">
            <a:avLst/>
          </a:prstGeom>
        </p:spPr>
      </p:pic>
      <p:sp>
        <p:nvSpPr>
          <p:cNvPr id="7" name="Скругленный прямоугольник 8">
            <a:extLst>
              <a:ext uri="{FF2B5EF4-FFF2-40B4-BE49-F238E27FC236}">
                <a16:creationId xmlns:a16="http://schemas.microsoft.com/office/drawing/2014/main" xmlns="" id="{A4C2E23A-C632-4F6B-86F6-33C6479B2C4F}"/>
              </a:ext>
            </a:extLst>
          </p:cNvPr>
          <p:cNvSpPr/>
          <p:nvPr/>
        </p:nvSpPr>
        <p:spPr>
          <a:xfrm>
            <a:off x="458845" y="5053168"/>
            <a:ext cx="1734260" cy="47041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авец (Титул Продавца). Отгрузка продукции</a:t>
            </a:r>
          </a:p>
        </p:txBody>
      </p:sp>
      <p:cxnSp>
        <p:nvCxnSpPr>
          <p:cNvPr id="8" name="Straight Connector 52">
            <a:extLst>
              <a:ext uri="{FF2B5EF4-FFF2-40B4-BE49-F238E27FC236}">
                <a16:creationId xmlns:a16="http://schemas.microsoft.com/office/drawing/2014/main" xmlns="" id="{7C8A0328-891D-4B20-9C4F-C35124148C37}"/>
              </a:ext>
            </a:extLst>
          </p:cNvPr>
          <p:cNvCxnSpPr>
            <a:cxnSpLocks/>
          </p:cNvCxnSpPr>
          <p:nvPr/>
        </p:nvCxnSpPr>
        <p:spPr>
          <a:xfrm>
            <a:off x="209892" y="5880417"/>
            <a:ext cx="8365650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4">
            <a:extLst>
              <a:ext uri="{FF2B5EF4-FFF2-40B4-BE49-F238E27FC236}">
                <a16:creationId xmlns:a16="http://schemas.microsoft.com/office/drawing/2014/main" xmlns="" id="{2C3C19E7-43FD-4140-8D7D-DADB8D145F21}"/>
              </a:ext>
            </a:extLst>
          </p:cNvPr>
          <p:cNvSpPr/>
          <p:nvPr/>
        </p:nvSpPr>
        <p:spPr>
          <a:xfrm>
            <a:off x="5073791" y="5701987"/>
            <a:ext cx="356839" cy="356839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xmlns="" id="{B13D0234-4C95-42F5-8601-C70B38A87950}"/>
              </a:ext>
            </a:extLst>
          </p:cNvPr>
          <p:cNvSpPr/>
          <p:nvPr/>
        </p:nvSpPr>
        <p:spPr>
          <a:xfrm>
            <a:off x="4392717" y="5075948"/>
            <a:ext cx="1821536" cy="44763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купатель (Титул Покупателя). Приёмка продукции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236F8BBD-8655-4DF6-833A-933F591F009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142361" y="5664874"/>
            <a:ext cx="437851" cy="437851"/>
          </a:xfrm>
          <a:prstGeom prst="rect">
            <a:avLst/>
          </a:prstGeom>
        </p:spPr>
      </p:pic>
      <p:sp>
        <p:nvSpPr>
          <p:cNvPr id="16" name="Облако 15">
            <a:extLst>
              <a:ext uri="{FF2B5EF4-FFF2-40B4-BE49-F238E27FC236}">
                <a16:creationId xmlns:a16="http://schemas.microsoft.com/office/drawing/2014/main" xmlns="" id="{8533A8D6-FCB1-48C5-B3B3-76F49E912488}"/>
              </a:ext>
            </a:extLst>
          </p:cNvPr>
          <p:cNvSpPr/>
          <p:nvPr/>
        </p:nvSpPr>
        <p:spPr>
          <a:xfrm>
            <a:off x="2796889" y="5629961"/>
            <a:ext cx="914400" cy="577883"/>
          </a:xfrm>
          <a:prstGeom prst="clou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ОЭДО</a:t>
            </a:r>
          </a:p>
        </p:txBody>
      </p:sp>
      <p:sp>
        <p:nvSpPr>
          <p:cNvPr id="17" name="Oval 4">
            <a:extLst>
              <a:ext uri="{FF2B5EF4-FFF2-40B4-BE49-F238E27FC236}">
                <a16:creationId xmlns:a16="http://schemas.microsoft.com/office/drawing/2014/main" xmlns="" id="{20682DB8-E4EF-438D-A87E-7C094613B3FF}"/>
              </a:ext>
            </a:extLst>
          </p:cNvPr>
          <p:cNvSpPr/>
          <p:nvPr/>
        </p:nvSpPr>
        <p:spPr>
          <a:xfrm>
            <a:off x="1097098" y="5675684"/>
            <a:ext cx="356839" cy="356839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8" name="Облако 17">
            <a:extLst>
              <a:ext uri="{FF2B5EF4-FFF2-40B4-BE49-F238E27FC236}">
                <a16:creationId xmlns:a16="http://schemas.microsoft.com/office/drawing/2014/main" xmlns="" id="{BFD36869-4B4A-4792-9DD8-C6E53240C03A}"/>
              </a:ext>
            </a:extLst>
          </p:cNvPr>
          <p:cNvSpPr/>
          <p:nvPr/>
        </p:nvSpPr>
        <p:spPr>
          <a:xfrm>
            <a:off x="6391707" y="5575914"/>
            <a:ext cx="914400" cy="577883"/>
          </a:xfrm>
          <a:prstGeom prst="clou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ОЭДО</a:t>
            </a:r>
          </a:p>
        </p:txBody>
      </p:sp>
      <p:sp>
        <p:nvSpPr>
          <p:cNvPr id="19" name="Скругленный прямоугольник 8">
            <a:extLst>
              <a:ext uri="{FF2B5EF4-FFF2-40B4-BE49-F238E27FC236}">
                <a16:creationId xmlns:a16="http://schemas.microsoft.com/office/drawing/2014/main" xmlns="" id="{B03F3C4A-ADFE-4843-AF6C-BC5DFA57D100}"/>
              </a:ext>
            </a:extLst>
          </p:cNvPr>
          <p:cNvSpPr/>
          <p:nvPr/>
        </p:nvSpPr>
        <p:spPr>
          <a:xfrm>
            <a:off x="7541597" y="5100001"/>
            <a:ext cx="1821536" cy="44763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гистрация УПД в ГИС МТ и смена Владельца КМ</a:t>
            </a:r>
          </a:p>
        </p:txBody>
      </p:sp>
      <p:cxnSp>
        <p:nvCxnSpPr>
          <p:cNvPr id="20" name="Соединитель: уступ 19">
            <a:extLst>
              <a:ext uri="{FF2B5EF4-FFF2-40B4-BE49-F238E27FC236}">
                <a16:creationId xmlns:a16="http://schemas.microsoft.com/office/drawing/2014/main" xmlns="" id="{63FCAC47-7EF7-413B-AF9F-CE65C8C3FCEA}"/>
              </a:ext>
            </a:extLst>
          </p:cNvPr>
          <p:cNvCxnSpPr>
            <a:cxnSpLocks/>
            <a:stCxn id="18" idx="1"/>
            <a:endCxn id="17" idx="4"/>
          </p:cNvCxnSpPr>
          <p:nvPr/>
        </p:nvCxnSpPr>
        <p:spPr>
          <a:xfrm rot="5400000" flipH="1">
            <a:off x="4001883" y="3306159"/>
            <a:ext cx="120659" cy="5573389"/>
          </a:xfrm>
          <a:prstGeom prst="bentConnector3">
            <a:avLst>
              <a:gd name="adj1" fmla="val -276805"/>
            </a:avLst>
          </a:prstGeom>
          <a:ln w="22225">
            <a:solidFill>
              <a:schemeClr val="bg2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36C8BFE0-D24F-469E-84DB-8543C7F365E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51922" y="5664874"/>
            <a:ext cx="437851" cy="43785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5E733BDA-0756-4187-B704-D10FF49EA70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013734" y="5675684"/>
            <a:ext cx="437851" cy="43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753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0"/>
          <p:cNvSpPr txBox="1"/>
          <p:nvPr/>
        </p:nvSpPr>
        <p:spPr>
          <a:xfrm>
            <a:off x="19880" y="1269669"/>
            <a:ext cx="7056781" cy="518218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необходимости внесения изменений в УПД в случае расхождения стоимости, количества товара, кодов маркировки и прочего, он направляет сообщение поставщику о выявленных несоответствиях.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ю о выявленных расхождениях Покупатель может сообщить Поставщику в форме ТОРГ-2, Уведомление об уточнение, </a:t>
            </a:r>
            <a:r>
              <a:rPr lang="en-US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mail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иная форма сообщения, без подачи сведений в «Честный Знак»  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вщик корректирует (УКД) или исправляет УПД (УПДи) и направляет документ покупателю. После подписания с двух сторон, Оператор ЭДО передает документ в ГИС МТ, где ранее поданные на основании УПД сведения о маркированном товаре, корректируются согласно исправленному или корректировочному документу.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ГИС МТ возможна обработка УКД без наличия основания УПД в случае если поставка была оформлена до 01.01.22 (использовались прямые методы подачи сведений о передаче КМ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лучае возврата КМ выведенных в рамках передачи для собственных нужд, необходимо использовать функционал ЛК в ГИС МТ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xmlns="" id="{001E9210-B242-9347-9FBB-779BF82D0AED}"/>
              </a:ext>
            </a:extLst>
          </p:cNvPr>
          <p:cNvSpPr/>
          <p:nvPr/>
        </p:nvSpPr>
        <p:spPr>
          <a:xfrm>
            <a:off x="581734" y="196689"/>
            <a:ext cx="10122709" cy="94035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8CE162F7-58F8-C84D-912B-DEB592473971}"/>
              </a:ext>
            </a:extLst>
          </p:cNvPr>
          <p:cNvSpPr txBox="1"/>
          <p:nvPr/>
        </p:nvSpPr>
        <p:spPr>
          <a:xfrm>
            <a:off x="675039" y="182933"/>
            <a:ext cx="712717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рректировка и исправление сведений, поданных через ЭДО</a:t>
            </a:r>
            <a:endParaRPr lang="x-none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Рисунок 47">
            <a:extLst>
              <a:ext uri="{FF2B5EF4-FFF2-40B4-BE49-F238E27FC236}">
                <a16:creationId xmlns:a16="http://schemas.microsoft.com/office/drawing/2014/main" xmlns="" id="{9DC17D86-E22B-F641-BAFF-F4346678525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929747" y="1229913"/>
            <a:ext cx="4354747" cy="543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38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043F1D02-1E0F-BD4D-9382-4972383EDD48}"/>
              </a:ext>
            </a:extLst>
          </p:cNvPr>
          <p:cNvSpPr/>
          <p:nvPr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" name="Rectangle 179"/>
          <p:cNvSpPr/>
          <p:nvPr/>
        </p:nvSpPr>
        <p:spPr>
          <a:xfrm>
            <a:off x="6709550" y="954509"/>
            <a:ext cx="10592465" cy="5759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нужно сделать для получения </a:t>
            </a:r>
          </a:p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анной продукции по ЭДО:</a:t>
            </a:r>
          </a:p>
        </p:txBody>
      </p:sp>
      <p:sp>
        <p:nvSpPr>
          <p:cNvPr id="7" name="object 10"/>
          <p:cNvSpPr txBox="1"/>
          <p:nvPr/>
        </p:nvSpPr>
        <p:spPr>
          <a:xfrm>
            <a:off x="7580819" y="2329583"/>
            <a:ext cx="3847926" cy="419730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fontAlgn="base"/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лючить договор с оператором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лектронного документооборота, получить идентификатор участника ЭДО</a:t>
            </a:r>
          </a:p>
          <a:p>
            <a:pPr fontAlgn="base"/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лючить дополнительное соглашение с поставщиком маркированной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одукции об использовании электронных документов (УПД)</a:t>
            </a:r>
          </a:p>
          <a:p>
            <a:pPr fontAlgn="base"/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6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править приглашение поставщику </a:t>
            </a:r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дальнейшего обмена с ним по ЭДО. </a:t>
            </a:r>
          </a:p>
          <a:p>
            <a:pPr fontAlgn="base"/>
            <a:r>
              <a:rPr lang="ru-RU" sz="16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необходимости, обратитесь за консультацией в поддержку оператора ЭДО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xmlns="" id="{EDAA7FF9-EA53-B34A-937A-726055AB5D8D}"/>
              </a:ext>
            </a:extLst>
          </p:cNvPr>
          <p:cNvGrpSpPr/>
          <p:nvPr/>
        </p:nvGrpSpPr>
        <p:grpSpPr>
          <a:xfrm>
            <a:off x="6709550" y="2323292"/>
            <a:ext cx="575920" cy="575920"/>
            <a:chOff x="6678629" y="1933571"/>
            <a:chExt cx="575920" cy="575920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xmlns="" id="{9A6DC853-CBDB-C944-96DC-26889068AB69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xmlns="" id="{80FAD156-A4B1-7741-B70F-D0479578A75D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xmlns="" id="{DA5D5B5E-3C3B-E446-A13C-F9C9D6B90952}"/>
              </a:ext>
            </a:extLst>
          </p:cNvPr>
          <p:cNvGrpSpPr/>
          <p:nvPr/>
        </p:nvGrpSpPr>
        <p:grpSpPr>
          <a:xfrm>
            <a:off x="6709550" y="3494791"/>
            <a:ext cx="575920" cy="575920"/>
            <a:chOff x="6678629" y="1933571"/>
            <a:chExt cx="575920" cy="575920"/>
          </a:xfrm>
        </p:grpSpPr>
        <p:sp>
          <p:nvSpPr>
            <p:cNvPr id="22" name="Скругленный прямоугольник 21">
              <a:extLst>
                <a:ext uri="{FF2B5EF4-FFF2-40B4-BE49-F238E27FC236}">
                  <a16:creationId xmlns:a16="http://schemas.microsoft.com/office/drawing/2014/main" xmlns="" id="{B45038D3-C99E-A240-AB91-12426FB3F3B4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xmlns="" id="{169ADDBE-0071-6744-A80F-2DEF1CAD56C0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79742096-47D0-9440-A7ED-BE708862E082}"/>
              </a:ext>
            </a:extLst>
          </p:cNvPr>
          <p:cNvGrpSpPr/>
          <p:nvPr/>
        </p:nvGrpSpPr>
        <p:grpSpPr>
          <a:xfrm>
            <a:off x="6755969" y="5057662"/>
            <a:ext cx="575920" cy="575920"/>
            <a:chOff x="6678629" y="1933571"/>
            <a:chExt cx="575920" cy="575920"/>
          </a:xfrm>
        </p:grpSpPr>
        <p:sp>
          <p:nvSpPr>
            <p:cNvPr id="25" name="Скругленный прямоугольник 24">
              <a:extLst>
                <a:ext uri="{FF2B5EF4-FFF2-40B4-BE49-F238E27FC236}">
                  <a16:creationId xmlns:a16="http://schemas.microsoft.com/office/drawing/2014/main" xmlns="" id="{7CA25986-0F6B-684A-B1AC-1E9E817CD03C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xmlns="" id="{8CCA4AE9-1807-D741-AD86-C9686749E796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</p:grp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xmlns="" id="{CE7CFD70-AEFD-CC4A-A930-985F11BD3E9B}"/>
              </a:ext>
            </a:extLst>
          </p:cNvPr>
          <p:cNvSpPr/>
          <p:nvPr/>
        </p:nvSpPr>
        <p:spPr>
          <a:xfrm>
            <a:off x="675040" y="699679"/>
            <a:ext cx="4196971" cy="126390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BB382ACD-D8E4-9245-A106-83854DB9866A}"/>
              </a:ext>
            </a:extLst>
          </p:cNvPr>
          <p:cNvSpPr txBox="1"/>
          <p:nvPr/>
        </p:nvSpPr>
        <p:spPr>
          <a:xfrm>
            <a:off x="888228" y="862103"/>
            <a:ext cx="398378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струкция по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ключению к ЭДО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xmlns="" id="{5DD3945B-B188-FB40-8339-D288F94D738B}"/>
              </a:ext>
            </a:extLst>
          </p:cNvPr>
          <p:cNvCxnSpPr>
            <a:cxnSpLocks/>
          </p:cNvCxnSpPr>
          <p:nvPr/>
        </p:nvCxnSpPr>
        <p:spPr>
          <a:xfrm>
            <a:off x="6755969" y="2015036"/>
            <a:ext cx="442910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Рисунок 41" descr="Изображение выглядит как часы&#10;&#10;Автоматически созданное описание">
            <a:extLst>
              <a:ext uri="{FF2B5EF4-FFF2-40B4-BE49-F238E27FC236}">
                <a16:creationId xmlns:a16="http://schemas.microsoft.com/office/drawing/2014/main" xmlns="" id="{9E267FD7-A018-6948-972A-CA03FA4EC3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367" y="3494791"/>
            <a:ext cx="2399170" cy="2354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5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631F8C5B-8D78-5B42-8FED-DFD2552072BF}"/>
              </a:ext>
            </a:extLst>
          </p:cNvPr>
          <p:cNvSpPr/>
          <p:nvPr/>
        </p:nvSpPr>
        <p:spPr>
          <a:xfrm>
            <a:off x="6150900" y="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25ECBC58-562C-D74C-9D28-40B67C2D0CBF}"/>
              </a:ext>
            </a:extLst>
          </p:cNvPr>
          <p:cNvSpPr txBox="1"/>
          <p:nvPr/>
        </p:nvSpPr>
        <p:spPr>
          <a:xfrm>
            <a:off x="7039128" y="862103"/>
            <a:ext cx="36327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 работать с УПД</a:t>
            </a:r>
            <a:endParaRPr lang="x-none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object 10"/>
          <p:cNvSpPr txBox="1"/>
          <p:nvPr/>
        </p:nvSpPr>
        <p:spPr>
          <a:xfrm>
            <a:off x="437322" y="475484"/>
            <a:ext cx="5415534" cy="582851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fontAlgn="base"/>
            <a:endParaRPr lang="ru-RU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ичные кабинеты операторов ЭДО</a:t>
            </a: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 — позволяют выполнять все действия по приемке </a:t>
            </a:r>
            <a:r>
              <a:rPr lang="ru-RU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анной продукции. </a:t>
            </a:r>
          </a:p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 большинства приём документов бесплатный в базовых пакетах!</a:t>
            </a:r>
          </a:p>
          <a:p>
            <a:pPr fontAlgn="base"/>
            <a:endParaRPr lang="ru-RU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том числе </a:t>
            </a: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 Оператора ЦРПТ – ЭДО </a:t>
            </a:r>
            <a:r>
              <a:rPr lang="ru-RU" b="1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айт</a:t>
            </a: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бесплатно, с ограничениями) - </a:t>
            </a:r>
            <a:r>
              <a:rPr lang="ru-RU" dirty="0">
                <a:hlinkClick r:id="rId2"/>
              </a:rPr>
              <a:t>https://xn--80ajghhoc2aj1c8b.xn--p1ai/edo_lite/</a:t>
            </a:r>
            <a:r>
              <a:rPr lang="ru-RU" dirty="0"/>
              <a:t> </a:t>
            </a:r>
          </a:p>
          <a:p>
            <a:pPr fontAlgn="base">
              <a:buFont typeface="Arial" panose="020B0604020202020204" pitchFamily="34" charset="0"/>
              <a:buChar char="•"/>
            </a:pPr>
            <a:endParaRPr lang="ru-RU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етное и кассовое ПО</a:t>
            </a: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интегрированное с системами ЭДО — для настройки интеграции с ЭДО необходимо обратиться к поставщику программного продукта</a:t>
            </a:r>
          </a:p>
          <a:p>
            <a:pPr fontAlgn="base"/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том числе мобильное приложение </a:t>
            </a: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 </a:t>
            </a:r>
            <a:r>
              <a:rPr lang="ru-RU" b="1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нак.Бизнес</a:t>
            </a: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- </a:t>
            </a:r>
            <a:r>
              <a:rPr lang="ru-RU" dirty="0">
                <a:hlinkClick r:id="rId3"/>
              </a:rPr>
              <a:t>https://xn--80ajghhoc2aj1c8b.xn--p1ai/mobile_business/</a:t>
            </a:r>
            <a:r>
              <a:rPr lang="ru-RU" dirty="0"/>
              <a:t> </a:t>
            </a:r>
          </a:p>
          <a:p>
            <a:pPr fontAlgn="base"/>
            <a:endParaRPr lang="ru-RU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B6C1A53E-2110-1045-82B5-98CB7806E23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05407" y="3298033"/>
            <a:ext cx="3700168" cy="2797256"/>
          </a:xfrm>
          <a:prstGeom prst="rect">
            <a:avLst/>
          </a:prstGeom>
        </p:spPr>
      </p:pic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AAEC5010-C933-0041-A23F-2B7479148832}"/>
              </a:ext>
            </a:extLst>
          </p:cNvPr>
          <p:cNvCxnSpPr>
            <a:cxnSpLocks/>
          </p:cNvCxnSpPr>
          <p:nvPr/>
        </p:nvCxnSpPr>
        <p:spPr>
          <a:xfrm>
            <a:off x="842457" y="4037241"/>
            <a:ext cx="4428790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572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Kz7x5yRhCgjqB1rX.7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hisiDvSRix9UgXvAx2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563C1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</TotalTime>
  <Words>877</Words>
  <Application>Microsoft Office PowerPoint</Application>
  <PresentationFormat>Произвольный</PresentationFormat>
  <Paragraphs>174</Paragraphs>
  <Slides>1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17" baseType="lpstr">
      <vt:lpstr>Office Theme</vt:lpstr>
      <vt:lpstr>Слайд think-cell</vt:lpstr>
      <vt:lpstr>think-cell Slide</vt:lpstr>
      <vt:lpstr>Презентация PowerPoint</vt:lpstr>
      <vt:lpstr>Что делать новой розничной точке</vt:lpstr>
      <vt:lpstr>Если уже продаете маркированную продукцию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дготовка розницы к выбытию маркированной  продукции</dc:title>
  <dc:creator>Михайленко Олег</dc:creator>
  <cp:lastModifiedBy>Мамина Ольга Александровна</cp:lastModifiedBy>
  <cp:revision>4</cp:revision>
  <dcterms:created xsi:type="dcterms:W3CDTF">2021-11-12T07:07:44Z</dcterms:created>
  <dcterms:modified xsi:type="dcterms:W3CDTF">2022-05-30T09:3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11-11T00:00:00Z</vt:filetime>
  </property>
  <property fmtid="{D5CDD505-2E9C-101B-9397-08002B2CF9AE}" pid="3" name="LastSaved">
    <vt:filetime>2021-11-12T00:00:00Z</vt:filetime>
  </property>
</Properties>
</file>